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48" r:id="rId4"/>
  </p:sldMasterIdLst>
  <p:sldIdLst>
    <p:sldId id="257" r:id="rId5"/>
    <p:sldId id="258" r:id="rId6"/>
    <p:sldId id="261" r:id="rId7"/>
    <p:sldId id="367" r:id="rId8"/>
    <p:sldId id="298" r:id="rId9"/>
    <p:sldId id="373" r:id="rId10"/>
    <p:sldId id="374" r:id="rId11"/>
    <p:sldId id="375" r:id="rId12"/>
    <p:sldId id="376" r:id="rId13"/>
    <p:sldId id="368" r:id="rId14"/>
    <p:sldId id="377" r:id="rId15"/>
    <p:sldId id="378" r:id="rId16"/>
    <p:sldId id="380" r:id="rId17"/>
    <p:sldId id="372" r:id="rId18"/>
    <p:sldId id="384" r:id="rId19"/>
    <p:sldId id="379" r:id="rId20"/>
    <p:sldId id="388" r:id="rId21"/>
    <p:sldId id="389" r:id="rId22"/>
    <p:sldId id="390" r:id="rId23"/>
    <p:sldId id="391" r:id="rId24"/>
    <p:sldId id="386" r:id="rId25"/>
    <p:sldId id="385" r:id="rId26"/>
    <p:sldId id="312" r:id="rId27"/>
  </p:sldIdLst>
  <p:sldSz cx="12192000" cy="6858000"/>
  <p:notesSz cx="6858000" cy="9144000"/>
  <p:custDataLst>
    <p:tags r:id="rId28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262730"/>
    <a:srgbClr val="0D1117"/>
    <a:srgbClr val="2A0068"/>
    <a:srgbClr val="339966"/>
    <a:srgbClr val="430098"/>
    <a:srgbClr val="F05033"/>
    <a:srgbClr val="6D41AE"/>
    <a:srgbClr val="000000"/>
    <a:srgbClr val="FFD1D1"/>
    <a:srgbClr val="F0EA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E8876F5-C2B1-412D-A29E-A708E86085AC}" v="9643" dt="2021-11-19T10:58:01.12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3792" autoAdjust="0"/>
  </p:normalViewPr>
  <p:slideViewPr>
    <p:cSldViewPr snapToGrid="0">
      <p:cViewPr>
        <p:scale>
          <a:sx n="50" d="100"/>
          <a:sy n="50" d="100"/>
        </p:scale>
        <p:origin x="1212" y="3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viewProps" Target="viewProps.xml"/><Relationship Id="rId8" Type="http://schemas.openxmlformats.org/officeDocument/2006/relationships/slide" Target="slides/slide4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astoriadis Pauline" userId="ccb5c65c-f81e-476d-a380-bc5d932e3d66" providerId="ADAL" clId="{675A59F1-360C-4A95-9C60-84DD7B679F96}"/>
    <pc:docChg chg="undo custSel delSld modSld">
      <pc:chgData name="Castoriadis Pauline" userId="ccb5c65c-f81e-476d-a380-bc5d932e3d66" providerId="ADAL" clId="{675A59F1-360C-4A95-9C60-84DD7B679F96}" dt="2021-11-12T09:43:18.770" v="4341" actId="20577"/>
      <pc:docMkLst>
        <pc:docMk/>
      </pc:docMkLst>
      <pc:sldChg chg="del">
        <pc:chgData name="Castoriadis Pauline" userId="ccb5c65c-f81e-476d-a380-bc5d932e3d66" providerId="ADAL" clId="{675A59F1-360C-4A95-9C60-84DD7B679F96}" dt="2021-11-11T12:55:56.453" v="1" actId="47"/>
        <pc:sldMkLst>
          <pc:docMk/>
          <pc:sldMk cId="297780784" sldId="342"/>
        </pc:sldMkLst>
      </pc:sldChg>
      <pc:sldChg chg="del">
        <pc:chgData name="Castoriadis Pauline" userId="ccb5c65c-f81e-476d-a380-bc5d932e3d66" providerId="ADAL" clId="{675A59F1-360C-4A95-9C60-84DD7B679F96}" dt="2021-11-11T12:55:56.915" v="2" actId="47"/>
        <pc:sldMkLst>
          <pc:docMk/>
          <pc:sldMk cId="3102308727" sldId="343"/>
        </pc:sldMkLst>
      </pc:sldChg>
      <pc:sldChg chg="addSp delSp modSp mod">
        <pc:chgData name="Castoriadis Pauline" userId="ccb5c65c-f81e-476d-a380-bc5d932e3d66" providerId="ADAL" clId="{675A59F1-360C-4A95-9C60-84DD7B679F96}" dt="2021-11-12T09:31:52.634" v="3109" actId="20577"/>
        <pc:sldMkLst>
          <pc:docMk/>
          <pc:sldMk cId="2224986252" sldId="346"/>
        </pc:sldMkLst>
        <pc:spChg chg="mod ord">
          <ac:chgData name="Castoriadis Pauline" userId="ccb5c65c-f81e-476d-a380-bc5d932e3d66" providerId="ADAL" clId="{675A59F1-360C-4A95-9C60-84DD7B679F96}" dt="2021-11-11T13:53:24.601" v="1448"/>
          <ac:spMkLst>
            <pc:docMk/>
            <pc:sldMk cId="2224986252" sldId="346"/>
            <ac:spMk id="4" creationId="{DF54CB6E-522B-4B35-B33C-9349148DA1D7}"/>
          </ac:spMkLst>
        </pc:spChg>
        <pc:spChg chg="mod ord">
          <ac:chgData name="Castoriadis Pauline" userId="ccb5c65c-f81e-476d-a380-bc5d932e3d66" providerId="ADAL" clId="{675A59F1-360C-4A95-9C60-84DD7B679F96}" dt="2021-11-11T13:53:24.601" v="1454"/>
          <ac:spMkLst>
            <pc:docMk/>
            <pc:sldMk cId="2224986252" sldId="346"/>
            <ac:spMk id="8" creationId="{0B723D89-8197-49BB-A6B5-DF2AB9339731}"/>
          </ac:spMkLst>
        </pc:spChg>
        <pc:spChg chg="mod ord">
          <ac:chgData name="Castoriadis Pauline" userId="ccb5c65c-f81e-476d-a380-bc5d932e3d66" providerId="ADAL" clId="{675A59F1-360C-4A95-9C60-84DD7B679F96}" dt="2021-11-11T13:53:24.601" v="1456"/>
          <ac:spMkLst>
            <pc:docMk/>
            <pc:sldMk cId="2224986252" sldId="346"/>
            <ac:spMk id="9" creationId="{4F99489C-536A-448E-BD2B-1C5C02464FBE}"/>
          </ac:spMkLst>
        </pc:spChg>
        <pc:spChg chg="mod ord">
          <ac:chgData name="Castoriadis Pauline" userId="ccb5c65c-f81e-476d-a380-bc5d932e3d66" providerId="ADAL" clId="{675A59F1-360C-4A95-9C60-84DD7B679F96}" dt="2021-11-11T13:53:24.604" v="1462"/>
          <ac:spMkLst>
            <pc:docMk/>
            <pc:sldMk cId="2224986252" sldId="346"/>
            <ac:spMk id="12" creationId="{D2B4BEAE-9A3C-44D1-9089-922F590CD36A}"/>
          </ac:spMkLst>
        </pc:spChg>
        <pc:spChg chg="mod ord">
          <ac:chgData name="Castoriadis Pauline" userId="ccb5c65c-f81e-476d-a380-bc5d932e3d66" providerId="ADAL" clId="{675A59F1-360C-4A95-9C60-84DD7B679F96}" dt="2021-11-11T13:53:24.604" v="1464"/>
          <ac:spMkLst>
            <pc:docMk/>
            <pc:sldMk cId="2224986252" sldId="346"/>
            <ac:spMk id="13" creationId="{7BC0740C-099E-4D8B-95C4-C630ADF5DC9F}"/>
          </ac:spMkLst>
        </pc:spChg>
        <pc:spChg chg="mod ord">
          <ac:chgData name="Castoriadis Pauline" userId="ccb5c65c-f81e-476d-a380-bc5d932e3d66" providerId="ADAL" clId="{675A59F1-360C-4A95-9C60-84DD7B679F96}" dt="2021-11-11T13:53:24.604" v="1466"/>
          <ac:spMkLst>
            <pc:docMk/>
            <pc:sldMk cId="2224986252" sldId="346"/>
            <ac:spMk id="14" creationId="{38E29041-C807-4B52-A262-1DE73764EAEB}"/>
          </ac:spMkLst>
        </pc:spChg>
        <pc:spChg chg="mod ord">
          <ac:chgData name="Castoriadis Pauline" userId="ccb5c65c-f81e-476d-a380-bc5d932e3d66" providerId="ADAL" clId="{675A59F1-360C-4A95-9C60-84DD7B679F96}" dt="2021-11-11T13:53:24.606" v="1470"/>
          <ac:spMkLst>
            <pc:docMk/>
            <pc:sldMk cId="2224986252" sldId="346"/>
            <ac:spMk id="16" creationId="{D9096D84-0A6F-47F2-A98C-5977F70EFE38}"/>
          </ac:spMkLst>
        </pc:spChg>
        <pc:spChg chg="mod ord">
          <ac:chgData name="Castoriadis Pauline" userId="ccb5c65c-f81e-476d-a380-bc5d932e3d66" providerId="ADAL" clId="{675A59F1-360C-4A95-9C60-84DD7B679F96}" dt="2021-11-11T13:55:46.450" v="1735" actId="20577"/>
          <ac:spMkLst>
            <pc:docMk/>
            <pc:sldMk cId="2224986252" sldId="346"/>
            <ac:spMk id="19" creationId="{CEA57582-F555-4F22-BE74-52E84792413F}"/>
          </ac:spMkLst>
        </pc:spChg>
        <pc:spChg chg="mod ord">
          <ac:chgData name="Castoriadis Pauline" userId="ccb5c65c-f81e-476d-a380-bc5d932e3d66" providerId="ADAL" clId="{675A59F1-360C-4A95-9C60-84DD7B679F96}" dt="2021-11-11T14:01:46.913" v="2169" actId="1035"/>
          <ac:spMkLst>
            <pc:docMk/>
            <pc:sldMk cId="2224986252" sldId="346"/>
            <ac:spMk id="22" creationId="{C23A17EE-FFDD-4B83-AAC6-1FBBC7E6466F}"/>
          </ac:spMkLst>
        </pc:spChg>
        <pc:spChg chg="mod ord">
          <ac:chgData name="Castoriadis Pauline" userId="ccb5c65c-f81e-476d-a380-bc5d932e3d66" providerId="ADAL" clId="{675A59F1-360C-4A95-9C60-84DD7B679F96}" dt="2021-11-11T14:01:46.913" v="2169" actId="1035"/>
          <ac:spMkLst>
            <pc:docMk/>
            <pc:sldMk cId="2224986252" sldId="346"/>
            <ac:spMk id="24" creationId="{73C7551B-6691-4B87-942E-A994D719EF97}"/>
          </ac:spMkLst>
        </pc:spChg>
        <pc:spChg chg="del">
          <ac:chgData name="Castoriadis Pauline" userId="ccb5c65c-f81e-476d-a380-bc5d932e3d66" providerId="ADAL" clId="{675A59F1-360C-4A95-9C60-84DD7B679F96}" dt="2021-11-11T13:42:37.942" v="1335" actId="478"/>
          <ac:spMkLst>
            <pc:docMk/>
            <pc:sldMk cId="2224986252" sldId="346"/>
            <ac:spMk id="25" creationId="{141EA20A-1FA3-4DBF-8D97-32323CF48B04}"/>
          </ac:spMkLst>
        </pc:spChg>
        <pc:spChg chg="del">
          <ac:chgData name="Castoriadis Pauline" userId="ccb5c65c-f81e-476d-a380-bc5d932e3d66" providerId="ADAL" clId="{675A59F1-360C-4A95-9C60-84DD7B679F96}" dt="2021-11-11T13:42:35.895" v="1334" actId="478"/>
          <ac:spMkLst>
            <pc:docMk/>
            <pc:sldMk cId="2224986252" sldId="346"/>
            <ac:spMk id="26" creationId="{92A6E12D-EC53-4F05-BF27-ED37CC50389D}"/>
          </ac:spMkLst>
        </pc:spChg>
        <pc:spChg chg="del mod ord">
          <ac:chgData name="Castoriadis Pauline" userId="ccb5c65c-f81e-476d-a380-bc5d932e3d66" providerId="ADAL" clId="{675A59F1-360C-4A95-9C60-84DD7B679F96}" dt="2021-11-11T14:01:26.606" v="2127" actId="478"/>
          <ac:spMkLst>
            <pc:docMk/>
            <pc:sldMk cId="2224986252" sldId="346"/>
            <ac:spMk id="27" creationId="{1D118936-8D14-4895-8EE5-F2FBE2C7D6DC}"/>
          </ac:spMkLst>
        </pc:spChg>
        <pc:spChg chg="add mod ord">
          <ac:chgData name="Castoriadis Pauline" userId="ccb5c65c-f81e-476d-a380-bc5d932e3d66" providerId="ADAL" clId="{675A59F1-360C-4A95-9C60-84DD7B679F96}" dt="2021-11-11T13:53:24.609" v="1490"/>
          <ac:spMkLst>
            <pc:docMk/>
            <pc:sldMk cId="2224986252" sldId="346"/>
            <ac:spMk id="28" creationId="{1ED9212B-1AF0-4037-A048-7DCE74B97BCD}"/>
          </ac:spMkLst>
        </pc:spChg>
        <pc:spChg chg="add mod ord">
          <ac:chgData name="Castoriadis Pauline" userId="ccb5c65c-f81e-476d-a380-bc5d932e3d66" providerId="ADAL" clId="{675A59F1-360C-4A95-9C60-84DD7B679F96}" dt="2021-11-11T13:53:24.611" v="1494"/>
          <ac:spMkLst>
            <pc:docMk/>
            <pc:sldMk cId="2224986252" sldId="346"/>
            <ac:spMk id="31" creationId="{5A4915FA-E770-4A5A-8715-3FB953935AFB}"/>
          </ac:spMkLst>
        </pc:spChg>
        <pc:spChg chg="add del mod">
          <ac:chgData name="Castoriadis Pauline" userId="ccb5c65c-f81e-476d-a380-bc5d932e3d66" providerId="ADAL" clId="{675A59F1-360C-4A95-9C60-84DD7B679F96}" dt="2021-11-11T13:52:09.718" v="1397" actId="478"/>
          <ac:spMkLst>
            <pc:docMk/>
            <pc:sldMk cId="2224986252" sldId="346"/>
            <ac:spMk id="35" creationId="{6B6FABE8-600D-4788-9D4A-9A6ACA9EF7DB}"/>
          </ac:spMkLst>
        </pc:spChg>
        <pc:spChg chg="add del mod">
          <ac:chgData name="Castoriadis Pauline" userId="ccb5c65c-f81e-476d-a380-bc5d932e3d66" providerId="ADAL" clId="{675A59F1-360C-4A95-9C60-84DD7B679F96}" dt="2021-11-11T13:52:09.718" v="1397" actId="478"/>
          <ac:spMkLst>
            <pc:docMk/>
            <pc:sldMk cId="2224986252" sldId="346"/>
            <ac:spMk id="36" creationId="{5559FF87-66E2-4990-B2CC-28ACDE156946}"/>
          </ac:spMkLst>
        </pc:spChg>
        <pc:spChg chg="add mod ord">
          <ac:chgData name="Castoriadis Pauline" userId="ccb5c65c-f81e-476d-a380-bc5d932e3d66" providerId="ADAL" clId="{675A59F1-360C-4A95-9C60-84DD7B679F96}" dt="2021-11-11T14:01:46.913" v="2169" actId="1035"/>
          <ac:spMkLst>
            <pc:docMk/>
            <pc:sldMk cId="2224986252" sldId="346"/>
            <ac:spMk id="37" creationId="{3C3DE610-E444-4D8A-B5E2-3E4A618C7A28}"/>
          </ac:spMkLst>
        </pc:spChg>
        <pc:spChg chg="add mod ord">
          <ac:chgData name="Castoriadis Pauline" userId="ccb5c65c-f81e-476d-a380-bc5d932e3d66" providerId="ADAL" clId="{675A59F1-360C-4A95-9C60-84DD7B679F96}" dt="2021-11-11T14:01:46.913" v="2169" actId="1035"/>
          <ac:spMkLst>
            <pc:docMk/>
            <pc:sldMk cId="2224986252" sldId="346"/>
            <ac:spMk id="38" creationId="{E73A281F-1C22-4E8C-875F-BEE62386E222}"/>
          </ac:spMkLst>
        </pc:spChg>
        <pc:spChg chg="add mod ord">
          <ac:chgData name="Castoriadis Pauline" userId="ccb5c65c-f81e-476d-a380-bc5d932e3d66" providerId="ADAL" clId="{675A59F1-360C-4A95-9C60-84DD7B679F96}" dt="2021-11-11T14:01:46.913" v="2169" actId="1035"/>
          <ac:spMkLst>
            <pc:docMk/>
            <pc:sldMk cId="2224986252" sldId="346"/>
            <ac:spMk id="39" creationId="{0E8F7AFF-172D-4F97-80F8-92ADB6E3FD46}"/>
          </ac:spMkLst>
        </pc:spChg>
        <pc:spChg chg="add mod ord">
          <ac:chgData name="Castoriadis Pauline" userId="ccb5c65c-f81e-476d-a380-bc5d932e3d66" providerId="ADAL" clId="{675A59F1-360C-4A95-9C60-84DD7B679F96}" dt="2021-11-11T14:01:46.913" v="2169" actId="1035"/>
          <ac:spMkLst>
            <pc:docMk/>
            <pc:sldMk cId="2224986252" sldId="346"/>
            <ac:spMk id="40" creationId="{A8330D96-35E8-4FA2-A26C-A750B26F2BC6}"/>
          </ac:spMkLst>
        </pc:spChg>
        <pc:spChg chg="add mod">
          <ac:chgData name="Castoriadis Pauline" userId="ccb5c65c-f81e-476d-a380-bc5d932e3d66" providerId="ADAL" clId="{675A59F1-360C-4A95-9C60-84DD7B679F96}" dt="2021-11-12T09:31:52.634" v="3109" actId="20577"/>
          <ac:spMkLst>
            <pc:docMk/>
            <pc:sldMk cId="2224986252" sldId="346"/>
            <ac:spMk id="44" creationId="{341A01BD-1D64-4602-9464-E4E0A8048A97}"/>
          </ac:spMkLst>
        </pc:spChg>
        <pc:spChg chg="mod">
          <ac:chgData name="Castoriadis Pauline" userId="ccb5c65c-f81e-476d-a380-bc5d932e3d66" providerId="ADAL" clId="{675A59F1-360C-4A95-9C60-84DD7B679F96}" dt="2021-11-11T14:01:52.161" v="2170"/>
          <ac:spMkLst>
            <pc:docMk/>
            <pc:sldMk cId="2224986252" sldId="346"/>
            <ac:spMk id="46" creationId="{36BA0393-965D-4EEA-BC91-E52043EAB695}"/>
          </ac:spMkLst>
        </pc:spChg>
        <pc:spChg chg="mod">
          <ac:chgData name="Castoriadis Pauline" userId="ccb5c65c-f81e-476d-a380-bc5d932e3d66" providerId="ADAL" clId="{675A59F1-360C-4A95-9C60-84DD7B679F96}" dt="2021-11-11T14:01:52.161" v="2170"/>
          <ac:spMkLst>
            <pc:docMk/>
            <pc:sldMk cId="2224986252" sldId="346"/>
            <ac:spMk id="47" creationId="{E1195D9B-2E02-4C3F-AA66-88B4E6F347E4}"/>
          </ac:spMkLst>
        </pc:spChg>
        <pc:spChg chg="mod">
          <ac:chgData name="Castoriadis Pauline" userId="ccb5c65c-f81e-476d-a380-bc5d932e3d66" providerId="ADAL" clId="{675A59F1-360C-4A95-9C60-84DD7B679F96}" dt="2021-11-11T14:01:52.161" v="2170"/>
          <ac:spMkLst>
            <pc:docMk/>
            <pc:sldMk cId="2224986252" sldId="346"/>
            <ac:spMk id="48" creationId="{82EF88B3-F499-48DB-B9E7-BDE08F114140}"/>
          </ac:spMkLst>
        </pc:spChg>
        <pc:grpChg chg="add mod">
          <ac:chgData name="Castoriadis Pauline" userId="ccb5c65c-f81e-476d-a380-bc5d932e3d66" providerId="ADAL" clId="{675A59F1-360C-4A95-9C60-84DD7B679F96}" dt="2021-11-11T14:01:52.161" v="2170"/>
          <ac:grpSpMkLst>
            <pc:docMk/>
            <pc:sldMk cId="2224986252" sldId="346"/>
            <ac:grpSpMk id="45" creationId="{94C3D884-0F87-46F3-B9E0-161AAB49818A}"/>
          </ac:grpSpMkLst>
        </pc:grpChg>
        <pc:graphicFrameChg chg="add mod ord modVis">
          <ac:chgData name="Castoriadis Pauline" userId="ccb5c65c-f81e-476d-a380-bc5d932e3d66" providerId="ADAL" clId="{675A59F1-360C-4A95-9C60-84DD7B679F96}" dt="2021-11-11T13:53:24.644" v="1521"/>
          <ac:graphicFrameMkLst>
            <pc:docMk/>
            <pc:sldMk cId="2224986252" sldId="346"/>
            <ac:graphicFrameMk id="41" creationId="{EF049ABA-E141-4A0E-9F1B-1D5020428026}"/>
          </ac:graphicFrameMkLst>
        </pc:graphicFrameChg>
        <pc:picChg chg="del">
          <ac:chgData name="Castoriadis Pauline" userId="ccb5c65c-f81e-476d-a380-bc5d932e3d66" providerId="ADAL" clId="{675A59F1-360C-4A95-9C60-84DD7B679F96}" dt="2021-11-11T13:41:25.157" v="1329" actId="478"/>
          <ac:picMkLst>
            <pc:docMk/>
            <pc:sldMk cId="2224986252" sldId="346"/>
            <ac:picMk id="3" creationId="{38896F42-DD1A-49F4-8626-9F5C5E8E7027}"/>
          </ac:picMkLst>
        </pc:picChg>
        <pc:picChg chg="del mod">
          <ac:chgData name="Castoriadis Pauline" userId="ccb5c65c-f81e-476d-a380-bc5d932e3d66" providerId="ADAL" clId="{675A59F1-360C-4A95-9C60-84DD7B679F96}" dt="2021-11-11T13:41:28.857" v="1332" actId="478"/>
          <ac:picMkLst>
            <pc:docMk/>
            <pc:sldMk cId="2224986252" sldId="346"/>
            <ac:picMk id="7" creationId="{D5537917-4EC5-42B7-8452-FD2367B148AC}"/>
          </ac:picMkLst>
        </pc:picChg>
        <pc:picChg chg="mod ord">
          <ac:chgData name="Castoriadis Pauline" userId="ccb5c65c-f81e-476d-a380-bc5d932e3d66" providerId="ADAL" clId="{675A59F1-360C-4A95-9C60-84DD7B679F96}" dt="2021-11-11T13:53:24.606" v="1474"/>
          <ac:picMkLst>
            <pc:docMk/>
            <pc:sldMk cId="2224986252" sldId="346"/>
            <ac:picMk id="18" creationId="{B5D6BBC4-355C-4DE1-A5D1-B56B6B540AC6}"/>
          </ac:picMkLst>
        </pc:picChg>
        <pc:picChg chg="add mod ord">
          <ac:chgData name="Castoriadis Pauline" userId="ccb5c65c-f81e-476d-a380-bc5d932e3d66" providerId="ADAL" clId="{675A59F1-360C-4A95-9C60-84DD7B679F96}" dt="2021-11-11T14:01:46.913" v="2169" actId="1035"/>
          <ac:picMkLst>
            <pc:docMk/>
            <pc:sldMk cId="2224986252" sldId="346"/>
            <ac:picMk id="23" creationId="{AEF2BE23-E08C-4DBD-BA8F-402E6A7742EA}"/>
          </ac:picMkLst>
        </pc:picChg>
        <pc:picChg chg="add mod ord">
          <ac:chgData name="Castoriadis Pauline" userId="ccb5c65c-f81e-476d-a380-bc5d932e3d66" providerId="ADAL" clId="{675A59F1-360C-4A95-9C60-84DD7B679F96}" dt="2021-11-11T13:53:24.611" v="1492"/>
          <ac:picMkLst>
            <pc:docMk/>
            <pc:sldMk cId="2224986252" sldId="346"/>
            <ac:picMk id="30" creationId="{C3ADF2D1-C55A-4FB4-9E75-12D9A8101BB6}"/>
          </ac:picMkLst>
        </pc:picChg>
        <pc:picChg chg="add mod ord">
          <ac:chgData name="Castoriadis Pauline" userId="ccb5c65c-f81e-476d-a380-bc5d932e3d66" providerId="ADAL" clId="{675A59F1-360C-4A95-9C60-84DD7B679F96}" dt="2021-11-11T13:53:24.611" v="1496"/>
          <ac:picMkLst>
            <pc:docMk/>
            <pc:sldMk cId="2224986252" sldId="346"/>
            <ac:picMk id="32" creationId="{AE88B628-B0BA-4427-BA44-E0A6EE43AE97}"/>
          </ac:picMkLst>
        </pc:picChg>
        <pc:picChg chg="add mod ord modCrop">
          <ac:chgData name="Castoriadis Pauline" userId="ccb5c65c-f81e-476d-a380-bc5d932e3d66" providerId="ADAL" clId="{675A59F1-360C-4A95-9C60-84DD7B679F96}" dt="2021-11-11T14:01:46.913" v="2169" actId="1035"/>
          <ac:picMkLst>
            <pc:docMk/>
            <pc:sldMk cId="2224986252" sldId="346"/>
            <ac:picMk id="34" creationId="{BE779D01-090C-4F43-BFA0-56B0DDEAD3DC}"/>
          </ac:picMkLst>
        </pc:picChg>
        <pc:picChg chg="add mod">
          <ac:chgData name="Castoriadis Pauline" userId="ccb5c65c-f81e-476d-a380-bc5d932e3d66" providerId="ADAL" clId="{675A59F1-360C-4A95-9C60-84DD7B679F96}" dt="2021-11-11T14:01:46.913" v="2169" actId="1035"/>
          <ac:picMkLst>
            <pc:docMk/>
            <pc:sldMk cId="2224986252" sldId="346"/>
            <ac:picMk id="43" creationId="{60505461-23F7-4586-BA4F-EB138FD6B1C1}"/>
          </ac:picMkLst>
        </pc:picChg>
        <pc:cxnChg chg="mod ord">
          <ac:chgData name="Castoriadis Pauline" userId="ccb5c65c-f81e-476d-a380-bc5d932e3d66" providerId="ADAL" clId="{675A59F1-360C-4A95-9C60-84DD7B679F96}" dt="2021-11-11T13:53:24.601" v="1450"/>
          <ac:cxnSpMkLst>
            <pc:docMk/>
            <pc:sldMk cId="2224986252" sldId="346"/>
            <ac:cxnSpMk id="5" creationId="{B2F6EEEA-A8A9-4C1F-926C-20F2F822812C}"/>
          </ac:cxnSpMkLst>
        </pc:cxnChg>
        <pc:cxnChg chg="mod ord">
          <ac:chgData name="Castoriadis Pauline" userId="ccb5c65c-f81e-476d-a380-bc5d932e3d66" providerId="ADAL" clId="{675A59F1-360C-4A95-9C60-84DD7B679F96}" dt="2021-11-11T13:53:24.601" v="1452"/>
          <ac:cxnSpMkLst>
            <pc:docMk/>
            <pc:sldMk cId="2224986252" sldId="346"/>
            <ac:cxnSpMk id="6" creationId="{51E44150-4B56-43D9-92A2-CDA20E76C16E}"/>
          </ac:cxnSpMkLst>
        </pc:cxnChg>
        <pc:cxnChg chg="mod ord">
          <ac:chgData name="Castoriadis Pauline" userId="ccb5c65c-f81e-476d-a380-bc5d932e3d66" providerId="ADAL" clId="{675A59F1-360C-4A95-9C60-84DD7B679F96}" dt="2021-11-11T13:53:24.604" v="1458"/>
          <ac:cxnSpMkLst>
            <pc:docMk/>
            <pc:sldMk cId="2224986252" sldId="346"/>
            <ac:cxnSpMk id="10" creationId="{78CB82DC-52B5-4CDA-B471-EBE2491CEE14}"/>
          </ac:cxnSpMkLst>
        </pc:cxnChg>
        <pc:cxnChg chg="mod ord">
          <ac:chgData name="Castoriadis Pauline" userId="ccb5c65c-f81e-476d-a380-bc5d932e3d66" providerId="ADAL" clId="{675A59F1-360C-4A95-9C60-84DD7B679F96}" dt="2021-11-11T13:53:24.604" v="1460"/>
          <ac:cxnSpMkLst>
            <pc:docMk/>
            <pc:sldMk cId="2224986252" sldId="346"/>
            <ac:cxnSpMk id="11" creationId="{83A18BF0-7C5C-4693-B316-19F43ADC5231}"/>
          </ac:cxnSpMkLst>
        </pc:cxnChg>
        <pc:cxnChg chg="mod ord">
          <ac:chgData name="Castoriadis Pauline" userId="ccb5c65c-f81e-476d-a380-bc5d932e3d66" providerId="ADAL" clId="{675A59F1-360C-4A95-9C60-84DD7B679F96}" dt="2021-11-11T13:53:24.604" v="1468"/>
          <ac:cxnSpMkLst>
            <pc:docMk/>
            <pc:sldMk cId="2224986252" sldId="346"/>
            <ac:cxnSpMk id="15" creationId="{E68304F2-4CC0-4D33-ADC3-3C7A94B8FEF8}"/>
          </ac:cxnSpMkLst>
        </pc:cxnChg>
        <pc:cxnChg chg="mod ord">
          <ac:chgData name="Castoriadis Pauline" userId="ccb5c65c-f81e-476d-a380-bc5d932e3d66" providerId="ADAL" clId="{675A59F1-360C-4A95-9C60-84DD7B679F96}" dt="2021-11-11T13:53:24.606" v="1472"/>
          <ac:cxnSpMkLst>
            <pc:docMk/>
            <pc:sldMk cId="2224986252" sldId="346"/>
            <ac:cxnSpMk id="17" creationId="{27A1BBAA-226E-444B-96C7-D3CAF5938344}"/>
          </ac:cxnSpMkLst>
        </pc:cxnChg>
        <pc:cxnChg chg="del mod ord">
          <ac:chgData name="Castoriadis Pauline" userId="ccb5c65c-f81e-476d-a380-bc5d932e3d66" providerId="ADAL" clId="{675A59F1-360C-4A95-9C60-84DD7B679F96}" dt="2021-11-11T13:53:45.018" v="1528" actId="478"/>
          <ac:cxnSpMkLst>
            <pc:docMk/>
            <pc:sldMk cId="2224986252" sldId="346"/>
            <ac:cxnSpMk id="20" creationId="{7349F1C5-95DE-4461-9BF1-7B926E368BBE}"/>
          </ac:cxnSpMkLst>
        </pc:cxnChg>
        <pc:cxnChg chg="del mod ord">
          <ac:chgData name="Castoriadis Pauline" userId="ccb5c65c-f81e-476d-a380-bc5d932e3d66" providerId="ADAL" clId="{675A59F1-360C-4A95-9C60-84DD7B679F96}" dt="2021-11-11T13:53:45.018" v="1528" actId="478"/>
          <ac:cxnSpMkLst>
            <pc:docMk/>
            <pc:sldMk cId="2224986252" sldId="346"/>
            <ac:cxnSpMk id="21" creationId="{D6277311-312D-417E-A2DE-1545341F424D}"/>
          </ac:cxnSpMkLst>
        </pc:cxnChg>
        <pc:cxnChg chg="add del mod ord">
          <ac:chgData name="Castoriadis Pauline" userId="ccb5c65c-f81e-476d-a380-bc5d932e3d66" providerId="ADAL" clId="{675A59F1-360C-4A95-9C60-84DD7B679F96}" dt="2021-11-11T14:01:25.185" v="2126" actId="478"/>
          <ac:cxnSpMkLst>
            <pc:docMk/>
            <pc:sldMk cId="2224986252" sldId="346"/>
            <ac:cxnSpMk id="29" creationId="{464BA4DF-E46A-41B3-8FAC-5502AF995817}"/>
          </ac:cxnSpMkLst>
        </pc:cxnChg>
      </pc:sldChg>
      <pc:sldChg chg="del">
        <pc:chgData name="Castoriadis Pauline" userId="ccb5c65c-f81e-476d-a380-bc5d932e3d66" providerId="ADAL" clId="{675A59F1-360C-4A95-9C60-84DD7B679F96}" dt="2021-11-11T12:55:56.086" v="0" actId="47"/>
        <pc:sldMkLst>
          <pc:docMk/>
          <pc:sldMk cId="187492092" sldId="351"/>
        </pc:sldMkLst>
      </pc:sldChg>
      <pc:sldChg chg="addSp modSp mod">
        <pc:chgData name="Castoriadis Pauline" userId="ccb5c65c-f81e-476d-a380-bc5d932e3d66" providerId="ADAL" clId="{675A59F1-360C-4A95-9C60-84DD7B679F96}" dt="2021-11-12T09:30:23.423" v="3076" actId="1076"/>
        <pc:sldMkLst>
          <pc:docMk/>
          <pc:sldMk cId="786632353" sldId="353"/>
        </pc:sldMkLst>
        <pc:spChg chg="add mod">
          <ac:chgData name="Castoriadis Pauline" userId="ccb5c65c-f81e-476d-a380-bc5d932e3d66" providerId="ADAL" clId="{675A59F1-360C-4A95-9C60-84DD7B679F96}" dt="2021-11-12T09:30:23.423" v="3076" actId="1076"/>
          <ac:spMkLst>
            <pc:docMk/>
            <pc:sldMk cId="786632353" sldId="353"/>
            <ac:spMk id="2" creationId="{55CD2EDD-083E-4456-A3A3-7D7AC3844EFE}"/>
          </ac:spMkLst>
        </pc:spChg>
        <pc:spChg chg="mod">
          <ac:chgData name="Castoriadis Pauline" userId="ccb5c65c-f81e-476d-a380-bc5d932e3d66" providerId="ADAL" clId="{675A59F1-360C-4A95-9C60-84DD7B679F96}" dt="2021-11-11T13:17:33.690" v="737" actId="20577"/>
          <ac:spMkLst>
            <pc:docMk/>
            <pc:sldMk cId="786632353" sldId="353"/>
            <ac:spMk id="110" creationId="{6895FA33-55E5-409B-9793-AC4943DF467A}"/>
          </ac:spMkLst>
        </pc:spChg>
        <pc:spChg chg="mod">
          <ac:chgData name="Castoriadis Pauline" userId="ccb5c65c-f81e-476d-a380-bc5d932e3d66" providerId="ADAL" clId="{675A59F1-360C-4A95-9C60-84DD7B679F96}" dt="2021-11-11T13:16:36.050" v="710" actId="20577"/>
          <ac:spMkLst>
            <pc:docMk/>
            <pc:sldMk cId="786632353" sldId="353"/>
            <ac:spMk id="111" creationId="{655DF0F7-B123-4976-9C8C-E15BE0BD138C}"/>
          </ac:spMkLst>
        </pc:spChg>
        <pc:spChg chg="mod">
          <ac:chgData name="Castoriadis Pauline" userId="ccb5c65c-f81e-476d-a380-bc5d932e3d66" providerId="ADAL" clId="{675A59F1-360C-4A95-9C60-84DD7B679F96}" dt="2021-11-11T13:15:48.104" v="653" actId="20577"/>
          <ac:spMkLst>
            <pc:docMk/>
            <pc:sldMk cId="786632353" sldId="353"/>
            <ac:spMk id="121" creationId="{B315C959-EE91-491F-B3D2-480D0EB4BC5F}"/>
          </ac:spMkLst>
        </pc:spChg>
        <pc:spChg chg="mod">
          <ac:chgData name="Castoriadis Pauline" userId="ccb5c65c-f81e-476d-a380-bc5d932e3d66" providerId="ADAL" clId="{675A59F1-360C-4A95-9C60-84DD7B679F96}" dt="2021-11-11T13:20:38.039" v="745" actId="13926"/>
          <ac:spMkLst>
            <pc:docMk/>
            <pc:sldMk cId="786632353" sldId="353"/>
            <ac:spMk id="123" creationId="{E9F3E791-2BF4-4562-9AB2-8EF23D26DC4E}"/>
          </ac:spMkLst>
        </pc:spChg>
        <pc:spChg chg="mod">
          <ac:chgData name="Castoriadis Pauline" userId="ccb5c65c-f81e-476d-a380-bc5d932e3d66" providerId="ADAL" clId="{675A59F1-360C-4A95-9C60-84DD7B679F96}" dt="2021-11-11T13:20:40.014" v="746" actId="13926"/>
          <ac:spMkLst>
            <pc:docMk/>
            <pc:sldMk cId="786632353" sldId="353"/>
            <ac:spMk id="124" creationId="{6F8EBD92-6361-4E44-99BA-188275BE6CD4}"/>
          </ac:spMkLst>
        </pc:spChg>
      </pc:sldChg>
      <pc:sldChg chg="addSp modSp mod">
        <pc:chgData name="Castoriadis Pauline" userId="ccb5c65c-f81e-476d-a380-bc5d932e3d66" providerId="ADAL" clId="{675A59F1-360C-4A95-9C60-84DD7B679F96}" dt="2021-11-12T09:43:18.770" v="4341" actId="20577"/>
        <pc:sldMkLst>
          <pc:docMk/>
          <pc:sldMk cId="1328712484" sldId="356"/>
        </pc:sldMkLst>
        <pc:spChg chg="mod">
          <ac:chgData name="Castoriadis Pauline" userId="ccb5c65c-f81e-476d-a380-bc5d932e3d66" providerId="ADAL" clId="{675A59F1-360C-4A95-9C60-84DD7B679F96}" dt="2021-11-11T13:54:35.336" v="1575" actId="13926"/>
          <ac:spMkLst>
            <pc:docMk/>
            <pc:sldMk cId="1328712484" sldId="356"/>
            <ac:spMk id="20" creationId="{8A1E23FD-ADC3-4649-8E23-2D666016D65A}"/>
          </ac:spMkLst>
        </pc:spChg>
        <pc:spChg chg="add mod">
          <ac:chgData name="Castoriadis Pauline" userId="ccb5c65c-f81e-476d-a380-bc5d932e3d66" providerId="ADAL" clId="{675A59F1-360C-4A95-9C60-84DD7B679F96}" dt="2021-11-11T13:13:00.480" v="651"/>
          <ac:spMkLst>
            <pc:docMk/>
            <pc:sldMk cId="1328712484" sldId="356"/>
            <ac:spMk id="21" creationId="{495C761A-85B5-4CDE-81B9-E3AC19242490}"/>
          </ac:spMkLst>
        </pc:spChg>
        <pc:spChg chg="add mod">
          <ac:chgData name="Castoriadis Pauline" userId="ccb5c65c-f81e-476d-a380-bc5d932e3d66" providerId="ADAL" clId="{675A59F1-360C-4A95-9C60-84DD7B679F96}" dt="2021-11-11T13:13:00.480" v="651"/>
          <ac:spMkLst>
            <pc:docMk/>
            <pc:sldMk cId="1328712484" sldId="356"/>
            <ac:spMk id="23" creationId="{5D6AFCBC-0257-45CB-A154-1FB71450A859}"/>
          </ac:spMkLst>
        </pc:spChg>
        <pc:spChg chg="mod">
          <ac:chgData name="Castoriadis Pauline" userId="ccb5c65c-f81e-476d-a380-bc5d932e3d66" providerId="ADAL" clId="{675A59F1-360C-4A95-9C60-84DD7B679F96}" dt="2021-11-11T14:01:53.794" v="2171"/>
          <ac:spMkLst>
            <pc:docMk/>
            <pc:sldMk cId="1328712484" sldId="356"/>
            <ac:spMk id="26" creationId="{B2D7E056-83A9-4DA7-8E9C-B99180FBFEB9}"/>
          </ac:spMkLst>
        </pc:spChg>
        <pc:spChg chg="mod">
          <ac:chgData name="Castoriadis Pauline" userId="ccb5c65c-f81e-476d-a380-bc5d932e3d66" providerId="ADAL" clId="{675A59F1-360C-4A95-9C60-84DD7B679F96}" dt="2021-11-11T14:01:53.794" v="2171"/>
          <ac:spMkLst>
            <pc:docMk/>
            <pc:sldMk cId="1328712484" sldId="356"/>
            <ac:spMk id="27" creationId="{95F5907B-6D8E-411D-AE05-4CC24FC31D05}"/>
          </ac:spMkLst>
        </pc:spChg>
        <pc:spChg chg="mod">
          <ac:chgData name="Castoriadis Pauline" userId="ccb5c65c-f81e-476d-a380-bc5d932e3d66" providerId="ADAL" clId="{675A59F1-360C-4A95-9C60-84DD7B679F96}" dt="2021-11-11T14:01:53.794" v="2171"/>
          <ac:spMkLst>
            <pc:docMk/>
            <pc:sldMk cId="1328712484" sldId="356"/>
            <ac:spMk id="28" creationId="{90AECF79-9D27-4D1F-B9E6-4428A11EAFB3}"/>
          </ac:spMkLst>
        </pc:spChg>
        <pc:spChg chg="add mod">
          <ac:chgData name="Castoriadis Pauline" userId="ccb5c65c-f81e-476d-a380-bc5d932e3d66" providerId="ADAL" clId="{675A59F1-360C-4A95-9C60-84DD7B679F96}" dt="2021-11-12T09:43:18.770" v="4341" actId="20577"/>
          <ac:spMkLst>
            <pc:docMk/>
            <pc:sldMk cId="1328712484" sldId="356"/>
            <ac:spMk id="29" creationId="{4F16B663-B3AE-45FC-A113-C9EEE706D7DC}"/>
          </ac:spMkLst>
        </pc:spChg>
        <pc:grpChg chg="add mod">
          <ac:chgData name="Castoriadis Pauline" userId="ccb5c65c-f81e-476d-a380-bc5d932e3d66" providerId="ADAL" clId="{675A59F1-360C-4A95-9C60-84DD7B679F96}" dt="2021-11-11T14:01:53.794" v="2171"/>
          <ac:grpSpMkLst>
            <pc:docMk/>
            <pc:sldMk cId="1328712484" sldId="356"/>
            <ac:grpSpMk id="25" creationId="{AF159790-A16E-49EA-9D1D-AA7078CD72EA}"/>
          </ac:grpSpMkLst>
        </pc:grpChg>
        <pc:picChg chg="add mod">
          <ac:chgData name="Castoriadis Pauline" userId="ccb5c65c-f81e-476d-a380-bc5d932e3d66" providerId="ADAL" clId="{675A59F1-360C-4A95-9C60-84DD7B679F96}" dt="2021-11-11T13:13:00.480" v="651"/>
          <ac:picMkLst>
            <pc:docMk/>
            <pc:sldMk cId="1328712484" sldId="356"/>
            <ac:picMk id="22" creationId="{78BB0ED7-E310-47D7-9AF9-53587D38D660}"/>
          </ac:picMkLst>
        </pc:picChg>
        <pc:picChg chg="add mod">
          <ac:chgData name="Castoriadis Pauline" userId="ccb5c65c-f81e-476d-a380-bc5d932e3d66" providerId="ADAL" clId="{675A59F1-360C-4A95-9C60-84DD7B679F96}" dt="2021-11-11T13:13:00.480" v="651"/>
          <ac:picMkLst>
            <pc:docMk/>
            <pc:sldMk cId="1328712484" sldId="356"/>
            <ac:picMk id="24" creationId="{5AB7F323-3F13-4A20-BD94-59597027E5DD}"/>
          </ac:picMkLst>
        </pc:picChg>
      </pc:sldChg>
      <pc:sldChg chg="addSp delSp modSp mod">
        <pc:chgData name="Castoriadis Pauline" userId="ccb5c65c-f81e-476d-a380-bc5d932e3d66" providerId="ADAL" clId="{675A59F1-360C-4A95-9C60-84DD7B679F96}" dt="2021-11-12T09:31:16.243" v="3078" actId="478"/>
        <pc:sldMkLst>
          <pc:docMk/>
          <pc:sldMk cId="2290166486" sldId="357"/>
        </pc:sldMkLst>
        <pc:spChg chg="mod ord">
          <ac:chgData name="Castoriadis Pauline" userId="ccb5c65c-f81e-476d-a380-bc5d932e3d66" providerId="ADAL" clId="{675A59F1-360C-4A95-9C60-84DD7B679F96}" dt="2021-11-11T13:52:36.810" v="1411" actId="13926"/>
          <ac:spMkLst>
            <pc:docMk/>
            <pc:sldMk cId="2290166486" sldId="357"/>
            <ac:spMk id="7" creationId="{519DBD6B-6811-4A71-A5F5-56637EA5E06E}"/>
          </ac:spMkLst>
        </pc:spChg>
        <pc:spChg chg="mod ord">
          <ac:chgData name="Castoriadis Pauline" userId="ccb5c65c-f81e-476d-a380-bc5d932e3d66" providerId="ADAL" clId="{675A59F1-360C-4A95-9C60-84DD7B679F96}" dt="2021-11-11T13:29:56.537" v="1144"/>
          <ac:spMkLst>
            <pc:docMk/>
            <pc:sldMk cId="2290166486" sldId="357"/>
            <ac:spMk id="25" creationId="{A4A9FE51-BA47-4056-813D-E909EDC7B403}"/>
          </ac:spMkLst>
        </pc:spChg>
        <pc:spChg chg="mod ord">
          <ac:chgData name="Castoriadis Pauline" userId="ccb5c65c-f81e-476d-a380-bc5d932e3d66" providerId="ADAL" clId="{675A59F1-360C-4A95-9C60-84DD7B679F96}" dt="2021-11-11T13:29:56.537" v="1150"/>
          <ac:spMkLst>
            <pc:docMk/>
            <pc:sldMk cId="2290166486" sldId="357"/>
            <ac:spMk id="28" creationId="{BA3DBBAA-0F45-4052-B326-DB64E0BCFE99}"/>
          </ac:spMkLst>
        </pc:spChg>
        <pc:spChg chg="mod ord">
          <ac:chgData name="Castoriadis Pauline" userId="ccb5c65c-f81e-476d-a380-bc5d932e3d66" providerId="ADAL" clId="{675A59F1-360C-4A95-9C60-84DD7B679F96}" dt="2021-11-11T13:29:56.537" v="1152"/>
          <ac:spMkLst>
            <pc:docMk/>
            <pc:sldMk cId="2290166486" sldId="357"/>
            <ac:spMk id="29" creationId="{B6F1FF6D-6FDE-4735-BE8D-BB6A39140856}"/>
          </ac:spMkLst>
        </pc:spChg>
        <pc:spChg chg="mod ord">
          <ac:chgData name="Castoriadis Pauline" userId="ccb5c65c-f81e-476d-a380-bc5d932e3d66" providerId="ADAL" clId="{675A59F1-360C-4A95-9C60-84DD7B679F96}" dt="2021-11-11T13:29:56.537" v="1140"/>
          <ac:spMkLst>
            <pc:docMk/>
            <pc:sldMk cId="2290166486" sldId="357"/>
            <ac:spMk id="36" creationId="{28FC9C7E-8E23-474F-8B94-B349493C2BDB}"/>
          </ac:spMkLst>
        </pc:spChg>
        <pc:spChg chg="mod ord">
          <ac:chgData name="Castoriadis Pauline" userId="ccb5c65c-f81e-476d-a380-bc5d932e3d66" providerId="ADAL" clId="{675A59F1-360C-4A95-9C60-84DD7B679F96}" dt="2021-11-11T13:29:56.537" v="1158"/>
          <ac:spMkLst>
            <pc:docMk/>
            <pc:sldMk cId="2290166486" sldId="357"/>
            <ac:spMk id="40" creationId="{E8E0DAF1-8CF6-436F-BC43-1B0B53090DA3}"/>
          </ac:spMkLst>
        </pc:spChg>
        <pc:spChg chg="mod ord">
          <ac:chgData name="Castoriadis Pauline" userId="ccb5c65c-f81e-476d-a380-bc5d932e3d66" providerId="ADAL" clId="{675A59F1-360C-4A95-9C60-84DD7B679F96}" dt="2021-11-11T13:29:56.537" v="1160"/>
          <ac:spMkLst>
            <pc:docMk/>
            <pc:sldMk cId="2290166486" sldId="357"/>
            <ac:spMk id="41" creationId="{B0C71807-4CF9-4659-A240-2259CB30CDD5}"/>
          </ac:spMkLst>
        </pc:spChg>
        <pc:spChg chg="mod ord">
          <ac:chgData name="Castoriadis Pauline" userId="ccb5c65c-f81e-476d-a380-bc5d932e3d66" providerId="ADAL" clId="{675A59F1-360C-4A95-9C60-84DD7B679F96}" dt="2021-11-11T13:29:56.537" v="1162"/>
          <ac:spMkLst>
            <pc:docMk/>
            <pc:sldMk cId="2290166486" sldId="357"/>
            <ac:spMk id="42" creationId="{353382C1-D5AD-4660-ADE0-EFF03EC5B1E4}"/>
          </ac:spMkLst>
        </pc:spChg>
        <pc:spChg chg="mod ord">
          <ac:chgData name="Castoriadis Pauline" userId="ccb5c65c-f81e-476d-a380-bc5d932e3d66" providerId="ADAL" clId="{675A59F1-360C-4A95-9C60-84DD7B679F96}" dt="2021-11-11T13:29:56.537" v="1166"/>
          <ac:spMkLst>
            <pc:docMk/>
            <pc:sldMk cId="2290166486" sldId="357"/>
            <ac:spMk id="44" creationId="{446D586D-5FF4-4B94-AB16-1F39FBA992CA}"/>
          </ac:spMkLst>
        </pc:spChg>
        <pc:spChg chg="mod ord">
          <ac:chgData name="Castoriadis Pauline" userId="ccb5c65c-f81e-476d-a380-bc5d932e3d66" providerId="ADAL" clId="{675A59F1-360C-4A95-9C60-84DD7B679F96}" dt="2021-11-11T13:29:56.553" v="1172"/>
          <ac:spMkLst>
            <pc:docMk/>
            <pc:sldMk cId="2290166486" sldId="357"/>
            <ac:spMk id="115" creationId="{351CA029-0B18-43E0-A1F2-5D5A5D542ADA}"/>
          </ac:spMkLst>
        </pc:spChg>
        <pc:spChg chg="mod ord">
          <ac:chgData name="Castoriadis Pauline" userId="ccb5c65c-f81e-476d-a380-bc5d932e3d66" providerId="ADAL" clId="{675A59F1-360C-4A95-9C60-84DD7B679F96}" dt="2021-11-11T13:29:56.553" v="1176"/>
          <ac:spMkLst>
            <pc:docMk/>
            <pc:sldMk cId="2290166486" sldId="357"/>
            <ac:spMk id="125" creationId="{8637CADB-784F-437E-91B0-9D0351A361A8}"/>
          </ac:spMkLst>
        </pc:spChg>
        <pc:spChg chg="mod ord">
          <ac:chgData name="Castoriadis Pauline" userId="ccb5c65c-f81e-476d-a380-bc5d932e3d66" providerId="ADAL" clId="{675A59F1-360C-4A95-9C60-84DD7B679F96}" dt="2021-11-11T13:30:25.875" v="1279" actId="1035"/>
          <ac:spMkLst>
            <pc:docMk/>
            <pc:sldMk cId="2290166486" sldId="357"/>
            <ac:spMk id="151" creationId="{8074D274-884D-4791-A85E-CEDAC0DB296A}"/>
          </ac:spMkLst>
        </pc:spChg>
        <pc:spChg chg="mod ord">
          <ac:chgData name="Castoriadis Pauline" userId="ccb5c65c-f81e-476d-a380-bc5d932e3d66" providerId="ADAL" clId="{675A59F1-360C-4A95-9C60-84DD7B679F96}" dt="2021-11-11T13:30:25.875" v="1279" actId="1035"/>
          <ac:spMkLst>
            <pc:docMk/>
            <pc:sldMk cId="2290166486" sldId="357"/>
            <ac:spMk id="152" creationId="{EF6161A7-434C-4BC7-9D15-AF15AAE1F4FE}"/>
          </ac:spMkLst>
        </pc:spChg>
        <pc:spChg chg="mod ord">
          <ac:chgData name="Castoriadis Pauline" userId="ccb5c65c-f81e-476d-a380-bc5d932e3d66" providerId="ADAL" clId="{675A59F1-360C-4A95-9C60-84DD7B679F96}" dt="2021-11-11T13:30:25.875" v="1279" actId="1035"/>
          <ac:spMkLst>
            <pc:docMk/>
            <pc:sldMk cId="2290166486" sldId="357"/>
            <ac:spMk id="153" creationId="{F23B7D4E-23C1-4415-89A5-31E9B7A515DF}"/>
          </ac:spMkLst>
        </pc:spChg>
        <pc:spChg chg="mod ord">
          <ac:chgData name="Castoriadis Pauline" userId="ccb5c65c-f81e-476d-a380-bc5d932e3d66" providerId="ADAL" clId="{675A59F1-360C-4A95-9C60-84DD7B679F96}" dt="2021-11-11T13:30:25.875" v="1279" actId="1035"/>
          <ac:spMkLst>
            <pc:docMk/>
            <pc:sldMk cId="2290166486" sldId="357"/>
            <ac:spMk id="154" creationId="{53D18165-CDA3-4DEA-A87D-560C30B3F98D}"/>
          </ac:spMkLst>
        </pc:spChg>
        <pc:spChg chg="mod ord">
          <ac:chgData name="Castoriadis Pauline" userId="ccb5c65c-f81e-476d-a380-bc5d932e3d66" providerId="ADAL" clId="{675A59F1-360C-4A95-9C60-84DD7B679F96}" dt="2021-11-11T13:30:25.875" v="1279" actId="1035"/>
          <ac:spMkLst>
            <pc:docMk/>
            <pc:sldMk cId="2290166486" sldId="357"/>
            <ac:spMk id="157" creationId="{0A158B93-0FEB-40C6-8ED6-59DF8FB35912}"/>
          </ac:spMkLst>
        </pc:spChg>
        <pc:spChg chg="mod ord">
          <ac:chgData name="Castoriadis Pauline" userId="ccb5c65c-f81e-476d-a380-bc5d932e3d66" providerId="ADAL" clId="{675A59F1-360C-4A95-9C60-84DD7B679F96}" dt="2021-11-11T13:30:25.875" v="1279" actId="1035"/>
          <ac:spMkLst>
            <pc:docMk/>
            <pc:sldMk cId="2290166486" sldId="357"/>
            <ac:spMk id="158" creationId="{EAA358C3-9FBD-4092-8BBD-4A99601118EB}"/>
          </ac:spMkLst>
        </pc:spChg>
        <pc:spChg chg="mod ord">
          <ac:chgData name="Castoriadis Pauline" userId="ccb5c65c-f81e-476d-a380-bc5d932e3d66" providerId="ADAL" clId="{675A59F1-360C-4A95-9C60-84DD7B679F96}" dt="2021-11-11T13:30:44.609" v="1289" actId="404"/>
          <ac:spMkLst>
            <pc:docMk/>
            <pc:sldMk cId="2290166486" sldId="357"/>
            <ac:spMk id="160" creationId="{0E0CB571-2D24-45EA-8CF5-A0EAE7A96D03}"/>
          </ac:spMkLst>
        </pc:spChg>
        <pc:spChg chg="mod ord">
          <ac:chgData name="Castoriadis Pauline" userId="ccb5c65c-f81e-476d-a380-bc5d932e3d66" providerId="ADAL" clId="{675A59F1-360C-4A95-9C60-84DD7B679F96}" dt="2021-11-11T13:30:36.695" v="1283" actId="404"/>
          <ac:spMkLst>
            <pc:docMk/>
            <pc:sldMk cId="2290166486" sldId="357"/>
            <ac:spMk id="162" creationId="{A3054849-39D8-49E2-BB8A-0542F0C5572B}"/>
          </ac:spMkLst>
        </pc:spChg>
        <pc:spChg chg="mod ord">
          <ac:chgData name="Castoriadis Pauline" userId="ccb5c65c-f81e-476d-a380-bc5d932e3d66" providerId="ADAL" clId="{675A59F1-360C-4A95-9C60-84DD7B679F96}" dt="2021-11-11T13:36:24.704" v="1309" actId="1036"/>
          <ac:spMkLst>
            <pc:docMk/>
            <pc:sldMk cId="2290166486" sldId="357"/>
            <ac:spMk id="165" creationId="{7EF0CF18-0944-43E7-BC96-C125BC69ED4C}"/>
          </ac:spMkLst>
        </pc:spChg>
        <pc:spChg chg="del mod ord">
          <ac:chgData name="Castoriadis Pauline" userId="ccb5c65c-f81e-476d-a380-bc5d932e3d66" providerId="ADAL" clId="{675A59F1-360C-4A95-9C60-84DD7B679F96}" dt="2021-11-11T13:36:35.071" v="1314" actId="478"/>
          <ac:spMkLst>
            <pc:docMk/>
            <pc:sldMk cId="2290166486" sldId="357"/>
            <ac:spMk id="166" creationId="{C8B7288B-DEF3-4E1B-86FE-927776B42B75}"/>
          </ac:spMkLst>
        </pc:spChg>
        <pc:spChg chg="mod ord">
          <ac:chgData name="Castoriadis Pauline" userId="ccb5c65c-f81e-476d-a380-bc5d932e3d66" providerId="ADAL" clId="{675A59F1-360C-4A95-9C60-84DD7B679F96}" dt="2021-11-11T13:40:57.394" v="1322" actId="1076"/>
          <ac:spMkLst>
            <pc:docMk/>
            <pc:sldMk cId="2290166486" sldId="357"/>
            <ac:spMk id="167" creationId="{FF9E7612-7E9D-4672-AB3E-99E270F25369}"/>
          </ac:spMkLst>
        </pc:spChg>
        <pc:spChg chg="mod ord">
          <ac:chgData name="Castoriadis Pauline" userId="ccb5c65c-f81e-476d-a380-bc5d932e3d66" providerId="ADAL" clId="{675A59F1-360C-4A95-9C60-84DD7B679F96}" dt="2021-11-11T13:36:30.982" v="1313" actId="1036"/>
          <ac:spMkLst>
            <pc:docMk/>
            <pc:sldMk cId="2290166486" sldId="357"/>
            <ac:spMk id="168" creationId="{AF11021F-CCC3-4ACA-810C-D85A434F010D}"/>
          </ac:spMkLst>
        </pc:spChg>
        <pc:spChg chg="mod ord">
          <ac:chgData name="Castoriadis Pauline" userId="ccb5c65c-f81e-476d-a380-bc5d932e3d66" providerId="ADAL" clId="{675A59F1-360C-4A95-9C60-84DD7B679F96}" dt="2021-11-11T13:36:55.432" v="1318" actId="1076"/>
          <ac:spMkLst>
            <pc:docMk/>
            <pc:sldMk cId="2290166486" sldId="357"/>
            <ac:spMk id="169" creationId="{A057C259-14C2-463C-A3C7-A105D99C6D8C}"/>
          </ac:spMkLst>
        </pc:spChg>
        <pc:spChg chg="mod ord">
          <ac:chgData name="Castoriadis Pauline" userId="ccb5c65c-f81e-476d-a380-bc5d932e3d66" providerId="ADAL" clId="{675A59F1-360C-4A95-9C60-84DD7B679F96}" dt="2021-11-11T13:37:01.430" v="1320" actId="14100"/>
          <ac:spMkLst>
            <pc:docMk/>
            <pc:sldMk cId="2290166486" sldId="357"/>
            <ac:spMk id="170" creationId="{5534875F-D4F9-42C4-AF96-83299CC67D7B}"/>
          </ac:spMkLst>
        </pc:spChg>
        <pc:spChg chg="mod ord">
          <ac:chgData name="Castoriadis Pauline" userId="ccb5c65c-f81e-476d-a380-bc5d932e3d66" providerId="ADAL" clId="{675A59F1-360C-4A95-9C60-84DD7B679F96}" dt="2021-11-11T13:37:04.102" v="1321" actId="1076"/>
          <ac:spMkLst>
            <pc:docMk/>
            <pc:sldMk cId="2290166486" sldId="357"/>
            <ac:spMk id="171" creationId="{C375D949-DB15-4C30-B82C-052F5AB2B676}"/>
          </ac:spMkLst>
        </pc:spChg>
        <pc:spChg chg="mod ord">
          <ac:chgData name="Castoriadis Pauline" userId="ccb5c65c-f81e-476d-a380-bc5d932e3d66" providerId="ADAL" clId="{675A59F1-360C-4A95-9C60-84DD7B679F96}" dt="2021-11-11T13:41:13.123" v="1326" actId="14100"/>
          <ac:spMkLst>
            <pc:docMk/>
            <pc:sldMk cId="2290166486" sldId="357"/>
            <ac:spMk id="173" creationId="{419D065A-8B99-4D56-9D06-27D19A520BC2}"/>
          </ac:spMkLst>
        </pc:spChg>
        <pc:spChg chg="add del mod">
          <ac:chgData name="Castoriadis Pauline" userId="ccb5c65c-f81e-476d-a380-bc5d932e3d66" providerId="ADAL" clId="{675A59F1-360C-4A95-9C60-84DD7B679F96}" dt="2021-11-11T13:04:02.388" v="428" actId="478"/>
          <ac:spMkLst>
            <pc:docMk/>
            <pc:sldMk cId="2290166486" sldId="357"/>
            <ac:spMk id="174" creationId="{C5BA8E76-5A8B-4FB9-BA1D-F4EBBF7D8F74}"/>
          </ac:spMkLst>
        </pc:spChg>
        <pc:spChg chg="add mod ord">
          <ac:chgData name="Castoriadis Pauline" userId="ccb5c65c-f81e-476d-a380-bc5d932e3d66" providerId="ADAL" clId="{675A59F1-360C-4A95-9C60-84DD7B679F96}" dt="2021-11-11T13:29:56.567" v="1228"/>
          <ac:spMkLst>
            <pc:docMk/>
            <pc:sldMk cId="2290166486" sldId="357"/>
            <ac:spMk id="175" creationId="{84648DA7-D1E8-45CE-A675-06716762B5E3}"/>
          </ac:spMkLst>
        </pc:spChg>
        <pc:spChg chg="add mod ord">
          <ac:chgData name="Castoriadis Pauline" userId="ccb5c65c-f81e-476d-a380-bc5d932e3d66" providerId="ADAL" clId="{675A59F1-360C-4A95-9C60-84DD7B679F96}" dt="2021-11-11T13:29:56.568" v="1230"/>
          <ac:spMkLst>
            <pc:docMk/>
            <pc:sldMk cId="2290166486" sldId="357"/>
            <ac:spMk id="176" creationId="{56B4835D-FFBA-4906-8C4E-70CFFCBE13E8}"/>
          </ac:spMkLst>
        </pc:spChg>
        <pc:spChg chg="add del mod">
          <ac:chgData name="Castoriadis Pauline" userId="ccb5c65c-f81e-476d-a380-bc5d932e3d66" providerId="ADAL" clId="{675A59F1-360C-4A95-9C60-84DD7B679F96}" dt="2021-11-11T13:04:14.028" v="442" actId="478"/>
          <ac:spMkLst>
            <pc:docMk/>
            <pc:sldMk cId="2290166486" sldId="357"/>
            <ac:spMk id="177" creationId="{EA19576E-ECFF-414D-A4F7-96C250F085C4}"/>
          </ac:spMkLst>
        </pc:spChg>
        <pc:spChg chg="add mod ord">
          <ac:chgData name="Castoriadis Pauline" userId="ccb5c65c-f81e-476d-a380-bc5d932e3d66" providerId="ADAL" clId="{675A59F1-360C-4A95-9C60-84DD7B679F96}" dt="2021-11-11T13:29:56.568" v="1232"/>
          <ac:spMkLst>
            <pc:docMk/>
            <pc:sldMk cId="2290166486" sldId="357"/>
            <ac:spMk id="178" creationId="{3CBFBA8A-99FF-4916-AA19-1ADF7AEB51BD}"/>
          </ac:spMkLst>
        </pc:spChg>
        <pc:spChg chg="add mod ord">
          <ac:chgData name="Castoriadis Pauline" userId="ccb5c65c-f81e-476d-a380-bc5d932e3d66" providerId="ADAL" clId="{675A59F1-360C-4A95-9C60-84DD7B679F96}" dt="2021-11-11T13:29:56.568" v="1234"/>
          <ac:spMkLst>
            <pc:docMk/>
            <pc:sldMk cId="2290166486" sldId="357"/>
            <ac:spMk id="179" creationId="{75DF0431-5C2F-42FE-880D-F5078447A40B}"/>
          </ac:spMkLst>
        </pc:spChg>
        <pc:spChg chg="add del mod">
          <ac:chgData name="Castoriadis Pauline" userId="ccb5c65c-f81e-476d-a380-bc5d932e3d66" providerId="ADAL" clId="{675A59F1-360C-4A95-9C60-84DD7B679F96}" dt="2021-11-12T09:31:16.243" v="3078" actId="478"/>
          <ac:spMkLst>
            <pc:docMk/>
            <pc:sldMk cId="2290166486" sldId="357"/>
            <ac:spMk id="184" creationId="{F7EE2F37-1F78-48D1-A387-EA9B125BCA49}"/>
          </ac:spMkLst>
        </pc:spChg>
        <pc:grpChg chg="mod ord">
          <ac:chgData name="Castoriadis Pauline" userId="ccb5c65c-f81e-476d-a380-bc5d932e3d66" providerId="ADAL" clId="{675A59F1-360C-4A95-9C60-84DD7B679F96}" dt="2021-11-11T13:29:56.537" v="1142"/>
          <ac:grpSpMkLst>
            <pc:docMk/>
            <pc:sldMk cId="2290166486" sldId="357"/>
            <ac:grpSpMk id="30" creationId="{59BC9850-3059-4197-89D4-2CFAB90549F4}"/>
          </ac:grpSpMkLst>
        </pc:grpChg>
        <pc:graphicFrameChg chg="mod">
          <ac:chgData name="Castoriadis Pauline" userId="ccb5c65c-f81e-476d-a380-bc5d932e3d66" providerId="ADAL" clId="{675A59F1-360C-4A95-9C60-84DD7B679F96}" dt="2021-11-11T13:29:56.568" v="1242"/>
          <ac:graphicFrameMkLst>
            <pc:docMk/>
            <pc:sldMk cId="2290166486" sldId="357"/>
            <ac:graphicFrameMk id="5" creationId="{563ECDA8-3053-4B9E-8D6A-AAF5BC86A822}"/>
          </ac:graphicFrameMkLst>
        </pc:graphicFrameChg>
        <pc:picChg chg="add mod ord">
          <ac:chgData name="Castoriadis Pauline" userId="ccb5c65c-f81e-476d-a380-bc5d932e3d66" providerId="ADAL" clId="{675A59F1-360C-4A95-9C60-84DD7B679F96}" dt="2021-11-11T13:30:25.875" v="1279" actId="1035"/>
          <ac:picMkLst>
            <pc:docMk/>
            <pc:sldMk cId="2290166486" sldId="357"/>
            <ac:picMk id="9" creationId="{144D56C9-9341-4C05-8CFC-BF2BD0522E70}"/>
          </ac:picMkLst>
        </pc:picChg>
        <pc:picChg chg="add del mod">
          <ac:chgData name="Castoriadis Pauline" userId="ccb5c65c-f81e-476d-a380-bc5d932e3d66" providerId="ADAL" clId="{675A59F1-360C-4A95-9C60-84DD7B679F96}" dt="2021-11-11T12:58:18.356" v="7" actId="478"/>
          <ac:picMkLst>
            <pc:docMk/>
            <pc:sldMk cId="2290166486" sldId="357"/>
            <ac:picMk id="11" creationId="{2A7F209F-BC0D-4AC9-8390-CCCE83DE434E}"/>
          </ac:picMkLst>
        </pc:picChg>
        <pc:picChg chg="add mod ord">
          <ac:chgData name="Castoriadis Pauline" userId="ccb5c65c-f81e-476d-a380-bc5d932e3d66" providerId="ADAL" clId="{675A59F1-360C-4A95-9C60-84DD7B679F96}" dt="2021-11-11T13:30:25.875" v="1279" actId="1035"/>
          <ac:picMkLst>
            <pc:docMk/>
            <pc:sldMk cId="2290166486" sldId="357"/>
            <ac:picMk id="13" creationId="{8D21189A-B1BF-4EED-B503-4D9BB0190C88}"/>
          </ac:picMkLst>
        </pc:picChg>
        <pc:picChg chg="add mod ord">
          <ac:chgData name="Castoriadis Pauline" userId="ccb5c65c-f81e-476d-a380-bc5d932e3d66" providerId="ADAL" clId="{675A59F1-360C-4A95-9C60-84DD7B679F96}" dt="2021-11-11T13:30:25.875" v="1279" actId="1035"/>
          <ac:picMkLst>
            <pc:docMk/>
            <pc:sldMk cId="2290166486" sldId="357"/>
            <ac:picMk id="15" creationId="{A7E65E1D-8C04-44F2-B146-4B20198DC890}"/>
          </ac:picMkLst>
        </pc:picChg>
        <pc:picChg chg="add mod ord modCrop">
          <ac:chgData name="Castoriadis Pauline" userId="ccb5c65c-f81e-476d-a380-bc5d932e3d66" providerId="ADAL" clId="{675A59F1-360C-4A95-9C60-84DD7B679F96}" dt="2021-11-11T13:30:25.875" v="1279" actId="1035"/>
          <ac:picMkLst>
            <pc:docMk/>
            <pc:sldMk cId="2290166486" sldId="357"/>
            <ac:picMk id="17" creationId="{DB68FE90-D6AF-416B-A55B-3577520C0927}"/>
          </ac:picMkLst>
        </pc:picChg>
        <pc:picChg chg="add mod ord">
          <ac:chgData name="Castoriadis Pauline" userId="ccb5c65c-f81e-476d-a380-bc5d932e3d66" providerId="ADAL" clId="{675A59F1-360C-4A95-9C60-84DD7B679F96}" dt="2021-11-11T13:30:25.875" v="1279" actId="1035"/>
          <ac:picMkLst>
            <pc:docMk/>
            <pc:sldMk cId="2290166486" sldId="357"/>
            <ac:picMk id="19" creationId="{1EA48C72-0A83-49EF-8367-D42CA1F15D78}"/>
          </ac:picMkLst>
        </pc:picChg>
        <pc:picChg chg="add mod ord">
          <ac:chgData name="Castoriadis Pauline" userId="ccb5c65c-f81e-476d-a380-bc5d932e3d66" providerId="ADAL" clId="{675A59F1-360C-4A95-9C60-84DD7B679F96}" dt="2021-11-11T13:30:25.875" v="1279" actId="1035"/>
          <ac:picMkLst>
            <pc:docMk/>
            <pc:sldMk cId="2290166486" sldId="357"/>
            <ac:picMk id="21" creationId="{D318CAF2-D12F-447F-8BB4-470A26F6CADB}"/>
          </ac:picMkLst>
        </pc:picChg>
        <pc:picChg chg="mod ord">
          <ac:chgData name="Castoriadis Pauline" userId="ccb5c65c-f81e-476d-a380-bc5d932e3d66" providerId="ADAL" clId="{675A59F1-360C-4A95-9C60-84DD7B679F96}" dt="2021-11-11T13:29:56.553" v="1170"/>
          <ac:picMkLst>
            <pc:docMk/>
            <pc:sldMk cId="2290166486" sldId="357"/>
            <ac:picMk id="46" creationId="{48B33A77-BBCE-453C-AADD-61493CEC5C7F}"/>
          </ac:picMkLst>
        </pc:picChg>
        <pc:picChg chg="mod ord">
          <ac:chgData name="Castoriadis Pauline" userId="ccb5c65c-f81e-476d-a380-bc5d932e3d66" providerId="ADAL" clId="{675A59F1-360C-4A95-9C60-84DD7B679F96}" dt="2021-11-11T13:29:56.553" v="1174"/>
          <ac:picMkLst>
            <pc:docMk/>
            <pc:sldMk cId="2290166486" sldId="357"/>
            <ac:picMk id="118" creationId="{45381864-2A32-41C5-9CAB-29BF547F3B75}"/>
          </ac:picMkLst>
        </pc:picChg>
        <pc:picChg chg="mod ord">
          <ac:chgData name="Castoriadis Pauline" userId="ccb5c65c-f81e-476d-a380-bc5d932e3d66" providerId="ADAL" clId="{675A59F1-360C-4A95-9C60-84DD7B679F96}" dt="2021-11-11T13:29:56.553" v="1178"/>
          <ac:picMkLst>
            <pc:docMk/>
            <pc:sldMk cId="2290166486" sldId="357"/>
            <ac:picMk id="126" creationId="{AEA65E01-73CC-400D-9796-01F10C61DDFB}"/>
          </ac:picMkLst>
        </pc:picChg>
        <pc:picChg chg="mod ord">
          <ac:chgData name="Castoriadis Pauline" userId="ccb5c65c-f81e-476d-a380-bc5d932e3d66" providerId="ADAL" clId="{675A59F1-360C-4A95-9C60-84DD7B679F96}" dt="2021-11-11T13:30:25.875" v="1279" actId="1035"/>
          <ac:picMkLst>
            <pc:docMk/>
            <pc:sldMk cId="2290166486" sldId="357"/>
            <ac:picMk id="155" creationId="{6C97739E-B3E8-4AFD-A769-C6A25887A031}"/>
          </ac:picMkLst>
        </pc:picChg>
        <pc:picChg chg="mod ord">
          <ac:chgData name="Castoriadis Pauline" userId="ccb5c65c-f81e-476d-a380-bc5d932e3d66" providerId="ADAL" clId="{675A59F1-360C-4A95-9C60-84DD7B679F96}" dt="2021-11-11T13:30:25.875" v="1279" actId="1035"/>
          <ac:picMkLst>
            <pc:docMk/>
            <pc:sldMk cId="2290166486" sldId="357"/>
            <ac:picMk id="156" creationId="{D678FA3F-DF8A-4347-8C9F-39AE46D1D4D2}"/>
          </ac:picMkLst>
        </pc:picChg>
        <pc:picChg chg="del mod">
          <ac:chgData name="Castoriadis Pauline" userId="ccb5c65c-f81e-476d-a380-bc5d932e3d66" providerId="ADAL" clId="{675A59F1-360C-4A95-9C60-84DD7B679F96}" dt="2021-11-11T13:25:29.691" v="754" actId="478"/>
          <ac:picMkLst>
            <pc:docMk/>
            <pc:sldMk cId="2290166486" sldId="357"/>
            <ac:picMk id="159" creationId="{3EAAD57E-C418-4DC8-A88D-8102ABEB82E5}"/>
          </ac:picMkLst>
        </pc:picChg>
        <pc:picChg chg="del mod ord">
          <ac:chgData name="Castoriadis Pauline" userId="ccb5c65c-f81e-476d-a380-bc5d932e3d66" providerId="ADAL" clId="{675A59F1-360C-4A95-9C60-84DD7B679F96}" dt="2021-11-11T13:26:39.464" v="983" actId="478"/>
          <ac:picMkLst>
            <pc:docMk/>
            <pc:sldMk cId="2290166486" sldId="357"/>
            <ac:picMk id="161" creationId="{D3994016-3891-4B26-99C5-0F56ABA629CD}"/>
          </ac:picMkLst>
        </pc:picChg>
        <pc:picChg chg="del mod ord">
          <ac:chgData name="Castoriadis Pauline" userId="ccb5c65c-f81e-476d-a380-bc5d932e3d66" providerId="ADAL" clId="{675A59F1-360C-4A95-9C60-84DD7B679F96}" dt="2021-11-11T13:29:57.341" v="1243" actId="478"/>
          <ac:picMkLst>
            <pc:docMk/>
            <pc:sldMk cId="2290166486" sldId="357"/>
            <ac:picMk id="163" creationId="{045D0A82-1783-4A43-9722-AD82E84B66B1}"/>
          </ac:picMkLst>
        </pc:picChg>
        <pc:picChg chg="del mod ord">
          <ac:chgData name="Castoriadis Pauline" userId="ccb5c65c-f81e-476d-a380-bc5d932e3d66" providerId="ADAL" clId="{675A59F1-360C-4A95-9C60-84DD7B679F96}" dt="2021-11-11T13:29:11.319" v="1104" actId="478"/>
          <ac:picMkLst>
            <pc:docMk/>
            <pc:sldMk cId="2290166486" sldId="357"/>
            <ac:picMk id="164" creationId="{D03872A1-94B1-4F7F-BC4C-C75E22295C8B}"/>
          </ac:picMkLst>
        </pc:picChg>
        <pc:picChg chg="add mod ord">
          <ac:chgData name="Castoriadis Pauline" userId="ccb5c65c-f81e-476d-a380-bc5d932e3d66" providerId="ADAL" clId="{675A59F1-360C-4A95-9C60-84DD7B679F96}" dt="2021-11-11T13:29:56.568" v="1236"/>
          <ac:picMkLst>
            <pc:docMk/>
            <pc:sldMk cId="2290166486" sldId="357"/>
            <ac:picMk id="180" creationId="{F76EA784-F647-4DBE-B53C-3F85FEF4360B}"/>
          </ac:picMkLst>
        </pc:picChg>
        <pc:picChg chg="add mod ord">
          <ac:chgData name="Castoriadis Pauline" userId="ccb5c65c-f81e-476d-a380-bc5d932e3d66" providerId="ADAL" clId="{675A59F1-360C-4A95-9C60-84DD7B679F96}" dt="2021-11-11T13:29:56.568" v="1238"/>
          <ac:picMkLst>
            <pc:docMk/>
            <pc:sldMk cId="2290166486" sldId="357"/>
            <ac:picMk id="181" creationId="{C5363023-CBEF-42E9-BE62-E7D8AA8F57C0}"/>
          </ac:picMkLst>
        </pc:picChg>
        <pc:picChg chg="add mod ord">
          <ac:chgData name="Castoriadis Pauline" userId="ccb5c65c-f81e-476d-a380-bc5d932e3d66" providerId="ADAL" clId="{675A59F1-360C-4A95-9C60-84DD7B679F96}" dt="2021-11-11T13:30:25.875" v="1279" actId="1035"/>
          <ac:picMkLst>
            <pc:docMk/>
            <pc:sldMk cId="2290166486" sldId="357"/>
            <ac:picMk id="182" creationId="{372327E4-C7B2-4CC5-92C7-83FD7113EB7A}"/>
          </ac:picMkLst>
        </pc:picChg>
        <pc:picChg chg="add mod">
          <ac:chgData name="Castoriadis Pauline" userId="ccb5c65c-f81e-476d-a380-bc5d932e3d66" providerId="ADAL" clId="{675A59F1-360C-4A95-9C60-84DD7B679F96}" dt="2021-11-11T13:30:25.875" v="1279" actId="1035"/>
          <ac:picMkLst>
            <pc:docMk/>
            <pc:sldMk cId="2290166486" sldId="357"/>
            <ac:picMk id="183" creationId="{D13C5894-BC26-49C5-A6B5-89C0B85069AA}"/>
          </ac:picMkLst>
        </pc:picChg>
        <pc:cxnChg chg="mod ord">
          <ac:chgData name="Castoriadis Pauline" userId="ccb5c65c-f81e-476d-a380-bc5d932e3d66" providerId="ADAL" clId="{675A59F1-360C-4A95-9C60-84DD7B679F96}" dt="2021-11-11T13:31:46.791" v="1301" actId="14100"/>
          <ac:cxnSpMkLst>
            <pc:docMk/>
            <pc:sldMk cId="2290166486" sldId="357"/>
            <ac:cxnSpMk id="3" creationId="{CF49762A-8480-4408-8B47-C18EA556F534}"/>
          </ac:cxnSpMkLst>
        </pc:cxnChg>
        <pc:cxnChg chg="mod ord">
          <ac:chgData name="Castoriadis Pauline" userId="ccb5c65c-f81e-476d-a380-bc5d932e3d66" providerId="ADAL" clId="{675A59F1-360C-4A95-9C60-84DD7B679F96}" dt="2021-11-11T13:29:56.537" v="1146"/>
          <ac:cxnSpMkLst>
            <pc:docMk/>
            <pc:sldMk cId="2290166486" sldId="357"/>
            <ac:cxnSpMk id="26" creationId="{F7571971-7509-4380-8830-A23C21BE18E4}"/>
          </ac:cxnSpMkLst>
        </pc:cxnChg>
        <pc:cxnChg chg="mod ord">
          <ac:chgData name="Castoriadis Pauline" userId="ccb5c65c-f81e-476d-a380-bc5d932e3d66" providerId="ADAL" clId="{675A59F1-360C-4A95-9C60-84DD7B679F96}" dt="2021-11-11T13:29:56.537" v="1148"/>
          <ac:cxnSpMkLst>
            <pc:docMk/>
            <pc:sldMk cId="2290166486" sldId="357"/>
            <ac:cxnSpMk id="27" creationId="{DBFD4E2B-69D3-49CD-99FE-F3DBDC632CE5}"/>
          </ac:cxnSpMkLst>
        </pc:cxnChg>
        <pc:cxnChg chg="mod ord">
          <ac:chgData name="Castoriadis Pauline" userId="ccb5c65c-f81e-476d-a380-bc5d932e3d66" providerId="ADAL" clId="{675A59F1-360C-4A95-9C60-84DD7B679F96}" dt="2021-11-11T13:29:56.537" v="1154"/>
          <ac:cxnSpMkLst>
            <pc:docMk/>
            <pc:sldMk cId="2290166486" sldId="357"/>
            <ac:cxnSpMk id="38" creationId="{4A36411D-D7C2-42AF-AFB9-C6E9BFF746C4}"/>
          </ac:cxnSpMkLst>
        </pc:cxnChg>
        <pc:cxnChg chg="mod ord">
          <ac:chgData name="Castoriadis Pauline" userId="ccb5c65c-f81e-476d-a380-bc5d932e3d66" providerId="ADAL" clId="{675A59F1-360C-4A95-9C60-84DD7B679F96}" dt="2021-11-11T13:29:56.537" v="1156"/>
          <ac:cxnSpMkLst>
            <pc:docMk/>
            <pc:sldMk cId="2290166486" sldId="357"/>
            <ac:cxnSpMk id="39" creationId="{9007BFB9-BBFC-4589-B91D-E998CF0F1082}"/>
          </ac:cxnSpMkLst>
        </pc:cxnChg>
        <pc:cxnChg chg="mod ord">
          <ac:chgData name="Castoriadis Pauline" userId="ccb5c65c-f81e-476d-a380-bc5d932e3d66" providerId="ADAL" clId="{675A59F1-360C-4A95-9C60-84DD7B679F96}" dt="2021-11-11T13:29:56.537" v="1164"/>
          <ac:cxnSpMkLst>
            <pc:docMk/>
            <pc:sldMk cId="2290166486" sldId="357"/>
            <ac:cxnSpMk id="43" creationId="{EF483067-27C1-4F57-925B-CAD4EE4EA10B}"/>
          </ac:cxnSpMkLst>
        </pc:cxnChg>
        <pc:cxnChg chg="mod ord">
          <ac:chgData name="Castoriadis Pauline" userId="ccb5c65c-f81e-476d-a380-bc5d932e3d66" providerId="ADAL" clId="{675A59F1-360C-4A95-9C60-84DD7B679F96}" dt="2021-11-11T13:29:56.553" v="1168"/>
          <ac:cxnSpMkLst>
            <pc:docMk/>
            <pc:sldMk cId="2290166486" sldId="357"/>
            <ac:cxnSpMk id="45" creationId="{C6EDC6E2-297A-466E-B6B2-F5AA07F548B3}"/>
          </ac:cxnSpMkLst>
        </pc:cxnChg>
        <pc:cxnChg chg="mod ord">
          <ac:chgData name="Castoriadis Pauline" userId="ccb5c65c-f81e-476d-a380-bc5d932e3d66" providerId="ADAL" clId="{675A59F1-360C-4A95-9C60-84DD7B679F96}" dt="2021-11-11T13:30:25.875" v="1279" actId="1035"/>
          <ac:cxnSpMkLst>
            <pc:docMk/>
            <pc:sldMk cId="2290166486" sldId="357"/>
            <ac:cxnSpMk id="145" creationId="{EB2F3934-93F5-4D9E-953F-CD7E65F49743}"/>
          </ac:cxnSpMkLst>
        </pc:cxnChg>
      </pc:sldChg>
    </pc:docChg>
  </pc:docChgLst>
  <pc:docChgLst>
    <pc:chgData name="Castoriadis Pauline" userId="ccb5c65c-f81e-476d-a380-bc5d932e3d66" providerId="ADAL" clId="{BE8876F5-C2B1-412D-A29E-A708E86085AC}"/>
    <pc:docChg chg="undo custSel addSld modSld">
      <pc:chgData name="Castoriadis Pauline" userId="ccb5c65c-f81e-476d-a380-bc5d932e3d66" providerId="ADAL" clId="{BE8876F5-C2B1-412D-A29E-A708E86085AC}" dt="2021-11-19T10:57:55.156" v="3433" actId="1035"/>
      <pc:docMkLst>
        <pc:docMk/>
      </pc:docMkLst>
      <pc:sldChg chg="addSp modSp">
        <pc:chgData name="Castoriadis Pauline" userId="ccb5c65c-f81e-476d-a380-bc5d932e3d66" providerId="ADAL" clId="{BE8876F5-C2B1-412D-A29E-A708E86085AC}" dt="2021-11-19T08:26:58.821" v="3052"/>
        <pc:sldMkLst>
          <pc:docMk/>
          <pc:sldMk cId="818647476" sldId="312"/>
        </pc:sldMkLst>
        <pc:spChg chg="add mod">
          <ac:chgData name="Castoriadis Pauline" userId="ccb5c65c-f81e-476d-a380-bc5d932e3d66" providerId="ADAL" clId="{BE8876F5-C2B1-412D-A29E-A708E86085AC}" dt="2021-11-19T08:26:58.821" v="3052"/>
          <ac:spMkLst>
            <pc:docMk/>
            <pc:sldMk cId="818647476" sldId="312"/>
            <ac:spMk id="7" creationId="{372FB9A8-BEEB-4392-8E1F-0A31F24FFEAA}"/>
          </ac:spMkLst>
        </pc:spChg>
      </pc:sldChg>
      <pc:sldChg chg="addSp modSp mod">
        <pc:chgData name="Castoriadis Pauline" userId="ccb5c65c-f81e-476d-a380-bc5d932e3d66" providerId="ADAL" clId="{BE8876F5-C2B1-412D-A29E-A708E86085AC}" dt="2021-11-17T07:01:30.779" v="1539" actId="14100"/>
        <pc:sldMkLst>
          <pc:docMk/>
          <pc:sldMk cId="2224986252" sldId="346"/>
        </pc:sldMkLst>
        <pc:spChg chg="add mod">
          <ac:chgData name="Castoriadis Pauline" userId="ccb5c65c-f81e-476d-a380-bc5d932e3d66" providerId="ADAL" clId="{BE8876F5-C2B1-412D-A29E-A708E86085AC}" dt="2021-11-17T07:00:46.114" v="1507" actId="1036"/>
          <ac:spMkLst>
            <pc:docMk/>
            <pc:sldMk cId="2224986252" sldId="346"/>
            <ac:spMk id="2" creationId="{75ADE97F-61D5-4BE6-9D64-1875DDCD2607}"/>
          </ac:spMkLst>
        </pc:spChg>
        <pc:spChg chg="add mod">
          <ac:chgData name="Castoriadis Pauline" userId="ccb5c65c-f81e-476d-a380-bc5d932e3d66" providerId="ADAL" clId="{BE8876F5-C2B1-412D-A29E-A708E86085AC}" dt="2021-11-17T06:59:28.853" v="1485" actId="1036"/>
          <ac:spMkLst>
            <pc:docMk/>
            <pc:sldMk cId="2224986252" sldId="346"/>
            <ac:spMk id="36" creationId="{A853D551-1BF2-4EAD-ACAB-65FC1267123A}"/>
          </ac:spMkLst>
        </pc:spChg>
        <pc:spChg chg="add mod">
          <ac:chgData name="Castoriadis Pauline" userId="ccb5c65c-f81e-476d-a380-bc5d932e3d66" providerId="ADAL" clId="{BE8876F5-C2B1-412D-A29E-A708E86085AC}" dt="2021-11-17T06:59:28.853" v="1485" actId="1036"/>
          <ac:spMkLst>
            <pc:docMk/>
            <pc:sldMk cId="2224986252" sldId="346"/>
            <ac:spMk id="42" creationId="{DA2F8817-F890-4ED7-9640-48A24B8EFC30}"/>
          </ac:spMkLst>
        </pc:spChg>
        <pc:spChg chg="mod">
          <ac:chgData name="Castoriadis Pauline" userId="ccb5c65c-f81e-476d-a380-bc5d932e3d66" providerId="ADAL" clId="{BE8876F5-C2B1-412D-A29E-A708E86085AC}" dt="2021-11-17T06:59:28.853" v="1485" actId="1036"/>
          <ac:spMkLst>
            <pc:docMk/>
            <pc:sldMk cId="2224986252" sldId="346"/>
            <ac:spMk id="44" creationId="{341A01BD-1D64-4602-9464-E4E0A8048A97}"/>
          </ac:spMkLst>
        </pc:spChg>
        <pc:spChg chg="add mod">
          <ac:chgData name="Castoriadis Pauline" userId="ccb5c65c-f81e-476d-a380-bc5d932e3d66" providerId="ADAL" clId="{BE8876F5-C2B1-412D-A29E-A708E86085AC}" dt="2021-11-17T06:59:28.853" v="1485" actId="1036"/>
          <ac:spMkLst>
            <pc:docMk/>
            <pc:sldMk cId="2224986252" sldId="346"/>
            <ac:spMk id="49" creationId="{45060AC9-2A30-4973-B83B-288B85D4B8C8}"/>
          </ac:spMkLst>
        </pc:spChg>
        <pc:spChg chg="add mod">
          <ac:chgData name="Castoriadis Pauline" userId="ccb5c65c-f81e-476d-a380-bc5d932e3d66" providerId="ADAL" clId="{BE8876F5-C2B1-412D-A29E-A708E86085AC}" dt="2021-11-17T06:59:28.853" v="1485" actId="1036"/>
          <ac:spMkLst>
            <pc:docMk/>
            <pc:sldMk cId="2224986252" sldId="346"/>
            <ac:spMk id="50" creationId="{BE9FD24E-475A-4F1A-BEB7-E017FD7129EC}"/>
          </ac:spMkLst>
        </pc:spChg>
        <pc:spChg chg="add mod">
          <ac:chgData name="Castoriadis Pauline" userId="ccb5c65c-f81e-476d-a380-bc5d932e3d66" providerId="ADAL" clId="{BE8876F5-C2B1-412D-A29E-A708E86085AC}" dt="2021-11-17T06:59:28.853" v="1485" actId="1036"/>
          <ac:spMkLst>
            <pc:docMk/>
            <pc:sldMk cId="2224986252" sldId="346"/>
            <ac:spMk id="51" creationId="{2070B6E2-159F-41BA-A231-5F740A836B86}"/>
          </ac:spMkLst>
        </pc:spChg>
        <pc:spChg chg="add mod">
          <ac:chgData name="Castoriadis Pauline" userId="ccb5c65c-f81e-476d-a380-bc5d932e3d66" providerId="ADAL" clId="{BE8876F5-C2B1-412D-A29E-A708E86085AC}" dt="2021-11-17T06:59:28.853" v="1485" actId="1036"/>
          <ac:spMkLst>
            <pc:docMk/>
            <pc:sldMk cId="2224986252" sldId="346"/>
            <ac:spMk id="52" creationId="{BD7D5C50-3469-44D0-A983-85E26C7351AF}"/>
          </ac:spMkLst>
        </pc:spChg>
        <pc:spChg chg="add mod">
          <ac:chgData name="Castoriadis Pauline" userId="ccb5c65c-f81e-476d-a380-bc5d932e3d66" providerId="ADAL" clId="{BE8876F5-C2B1-412D-A29E-A708E86085AC}" dt="2021-11-17T06:59:28.853" v="1485" actId="1036"/>
          <ac:spMkLst>
            <pc:docMk/>
            <pc:sldMk cId="2224986252" sldId="346"/>
            <ac:spMk id="53" creationId="{FB0F4B87-7B4F-4CE5-9EE9-E7CBA63CB145}"/>
          </ac:spMkLst>
        </pc:spChg>
        <pc:spChg chg="add mod">
          <ac:chgData name="Castoriadis Pauline" userId="ccb5c65c-f81e-476d-a380-bc5d932e3d66" providerId="ADAL" clId="{BE8876F5-C2B1-412D-A29E-A708E86085AC}" dt="2021-11-17T06:59:28.853" v="1485" actId="1036"/>
          <ac:spMkLst>
            <pc:docMk/>
            <pc:sldMk cId="2224986252" sldId="346"/>
            <ac:spMk id="54" creationId="{A97C77FD-DCDC-4DC6-91D7-25865F7E6555}"/>
          </ac:spMkLst>
        </pc:spChg>
        <pc:spChg chg="add mod">
          <ac:chgData name="Castoriadis Pauline" userId="ccb5c65c-f81e-476d-a380-bc5d932e3d66" providerId="ADAL" clId="{BE8876F5-C2B1-412D-A29E-A708E86085AC}" dt="2021-11-17T06:59:28.853" v="1485" actId="1036"/>
          <ac:spMkLst>
            <pc:docMk/>
            <pc:sldMk cId="2224986252" sldId="346"/>
            <ac:spMk id="55" creationId="{46AD44AB-E925-43D9-AA65-2EA0E397C415}"/>
          </ac:spMkLst>
        </pc:spChg>
        <pc:spChg chg="add mod">
          <ac:chgData name="Castoriadis Pauline" userId="ccb5c65c-f81e-476d-a380-bc5d932e3d66" providerId="ADAL" clId="{BE8876F5-C2B1-412D-A29E-A708E86085AC}" dt="2021-11-17T07:00:46.114" v="1507" actId="1036"/>
          <ac:spMkLst>
            <pc:docMk/>
            <pc:sldMk cId="2224986252" sldId="346"/>
            <ac:spMk id="56" creationId="{E1CCDE99-458C-4247-8D09-2E8907701242}"/>
          </ac:spMkLst>
        </pc:spChg>
        <pc:spChg chg="add mod">
          <ac:chgData name="Castoriadis Pauline" userId="ccb5c65c-f81e-476d-a380-bc5d932e3d66" providerId="ADAL" clId="{BE8876F5-C2B1-412D-A29E-A708E86085AC}" dt="2021-11-17T07:00:46.114" v="1507" actId="1036"/>
          <ac:spMkLst>
            <pc:docMk/>
            <pc:sldMk cId="2224986252" sldId="346"/>
            <ac:spMk id="57" creationId="{1A0506D4-9080-4D53-9B8E-19DCF3449AE4}"/>
          </ac:spMkLst>
        </pc:spChg>
        <pc:spChg chg="add mod">
          <ac:chgData name="Castoriadis Pauline" userId="ccb5c65c-f81e-476d-a380-bc5d932e3d66" providerId="ADAL" clId="{BE8876F5-C2B1-412D-A29E-A708E86085AC}" dt="2021-11-17T07:01:04.353" v="1530" actId="1035"/>
          <ac:spMkLst>
            <pc:docMk/>
            <pc:sldMk cId="2224986252" sldId="346"/>
            <ac:spMk id="58" creationId="{04A79D81-6CDC-4CD4-9594-715B0F7D2A7C}"/>
          </ac:spMkLst>
        </pc:spChg>
        <pc:spChg chg="add mod">
          <ac:chgData name="Castoriadis Pauline" userId="ccb5c65c-f81e-476d-a380-bc5d932e3d66" providerId="ADAL" clId="{BE8876F5-C2B1-412D-A29E-A708E86085AC}" dt="2021-11-17T07:01:30.779" v="1539" actId="14100"/>
          <ac:spMkLst>
            <pc:docMk/>
            <pc:sldMk cId="2224986252" sldId="346"/>
            <ac:spMk id="59" creationId="{DDF29226-50A2-4692-B034-3196B47A7B68}"/>
          </ac:spMkLst>
        </pc:spChg>
        <pc:picChg chg="mod">
          <ac:chgData name="Castoriadis Pauline" userId="ccb5c65c-f81e-476d-a380-bc5d932e3d66" providerId="ADAL" clId="{BE8876F5-C2B1-412D-A29E-A708E86085AC}" dt="2021-11-17T06:59:28.853" v="1485" actId="1036"/>
          <ac:picMkLst>
            <pc:docMk/>
            <pc:sldMk cId="2224986252" sldId="346"/>
            <ac:picMk id="23" creationId="{AEF2BE23-E08C-4DBD-BA8F-402E6A7742EA}"/>
          </ac:picMkLst>
        </pc:picChg>
        <pc:picChg chg="mod">
          <ac:chgData name="Castoriadis Pauline" userId="ccb5c65c-f81e-476d-a380-bc5d932e3d66" providerId="ADAL" clId="{BE8876F5-C2B1-412D-A29E-A708E86085AC}" dt="2021-11-17T06:59:28.853" v="1485" actId="1036"/>
          <ac:picMkLst>
            <pc:docMk/>
            <pc:sldMk cId="2224986252" sldId="346"/>
            <ac:picMk id="34" creationId="{BE779D01-090C-4F43-BFA0-56B0DDEAD3DC}"/>
          </ac:picMkLst>
        </pc:picChg>
        <pc:picChg chg="mod">
          <ac:chgData name="Castoriadis Pauline" userId="ccb5c65c-f81e-476d-a380-bc5d932e3d66" providerId="ADAL" clId="{BE8876F5-C2B1-412D-A29E-A708E86085AC}" dt="2021-11-17T06:59:28.853" v="1485" actId="1036"/>
          <ac:picMkLst>
            <pc:docMk/>
            <pc:sldMk cId="2224986252" sldId="346"/>
            <ac:picMk id="43" creationId="{60505461-23F7-4586-BA4F-EB138FD6B1C1}"/>
          </ac:picMkLst>
        </pc:picChg>
      </pc:sldChg>
      <pc:sldChg chg="addSp delSp modSp mod">
        <pc:chgData name="Castoriadis Pauline" userId="ccb5c65c-f81e-476d-a380-bc5d932e3d66" providerId="ADAL" clId="{BE8876F5-C2B1-412D-A29E-A708E86085AC}" dt="2021-11-17T06:49:10.927" v="579" actId="1036"/>
        <pc:sldMkLst>
          <pc:docMk/>
          <pc:sldMk cId="786632353" sldId="353"/>
        </pc:sldMkLst>
        <pc:spChg chg="del mod ord">
          <ac:chgData name="Castoriadis Pauline" userId="ccb5c65c-f81e-476d-a380-bc5d932e3d66" providerId="ADAL" clId="{BE8876F5-C2B1-412D-A29E-A708E86085AC}" dt="2021-11-13T08:47:22.986" v="565" actId="478"/>
          <ac:spMkLst>
            <pc:docMk/>
            <pc:sldMk cId="786632353" sldId="353"/>
            <ac:spMk id="2" creationId="{55CD2EDD-083E-4456-A3A3-7D7AC3844EFE}"/>
          </ac:spMkLst>
        </pc:spChg>
        <pc:spChg chg="mod ord">
          <ac:chgData name="Castoriadis Pauline" userId="ccb5c65c-f81e-476d-a380-bc5d932e3d66" providerId="ADAL" clId="{BE8876F5-C2B1-412D-A29E-A708E86085AC}" dt="2021-11-13T08:43:44.842" v="81"/>
          <ac:spMkLst>
            <pc:docMk/>
            <pc:sldMk cId="786632353" sldId="353"/>
            <ac:spMk id="25" creationId="{A4A9FE51-BA47-4056-813D-E909EDC7B403}"/>
          </ac:spMkLst>
        </pc:spChg>
        <pc:spChg chg="mod ord">
          <ac:chgData name="Castoriadis Pauline" userId="ccb5c65c-f81e-476d-a380-bc5d932e3d66" providerId="ADAL" clId="{BE8876F5-C2B1-412D-A29E-A708E86085AC}" dt="2021-11-13T08:43:44.844" v="87"/>
          <ac:spMkLst>
            <pc:docMk/>
            <pc:sldMk cId="786632353" sldId="353"/>
            <ac:spMk id="28" creationId="{BA3DBBAA-0F45-4052-B326-DB64E0BCFE99}"/>
          </ac:spMkLst>
        </pc:spChg>
        <pc:spChg chg="mod ord">
          <ac:chgData name="Castoriadis Pauline" userId="ccb5c65c-f81e-476d-a380-bc5d932e3d66" providerId="ADAL" clId="{BE8876F5-C2B1-412D-A29E-A708E86085AC}" dt="2021-11-13T08:43:44.844" v="89"/>
          <ac:spMkLst>
            <pc:docMk/>
            <pc:sldMk cId="786632353" sldId="353"/>
            <ac:spMk id="29" creationId="{B6F1FF6D-6FDE-4735-BE8D-BB6A39140856}"/>
          </ac:spMkLst>
        </pc:spChg>
        <pc:spChg chg="mod ord">
          <ac:chgData name="Castoriadis Pauline" userId="ccb5c65c-f81e-476d-a380-bc5d932e3d66" providerId="ADAL" clId="{BE8876F5-C2B1-412D-A29E-A708E86085AC}" dt="2021-11-13T08:47:19.888" v="564" actId="20577"/>
          <ac:spMkLst>
            <pc:docMk/>
            <pc:sldMk cId="786632353" sldId="353"/>
            <ac:spMk id="36" creationId="{28FC9C7E-8E23-474F-8B94-B349493C2BDB}"/>
          </ac:spMkLst>
        </pc:spChg>
        <pc:spChg chg="mod ord">
          <ac:chgData name="Castoriadis Pauline" userId="ccb5c65c-f81e-476d-a380-bc5d932e3d66" providerId="ADAL" clId="{BE8876F5-C2B1-412D-A29E-A708E86085AC}" dt="2021-11-13T08:43:44.845" v="95"/>
          <ac:spMkLst>
            <pc:docMk/>
            <pc:sldMk cId="786632353" sldId="353"/>
            <ac:spMk id="40" creationId="{E8E0DAF1-8CF6-436F-BC43-1B0B53090DA3}"/>
          </ac:spMkLst>
        </pc:spChg>
        <pc:spChg chg="mod ord">
          <ac:chgData name="Castoriadis Pauline" userId="ccb5c65c-f81e-476d-a380-bc5d932e3d66" providerId="ADAL" clId="{BE8876F5-C2B1-412D-A29E-A708E86085AC}" dt="2021-11-13T08:43:44.846" v="97"/>
          <ac:spMkLst>
            <pc:docMk/>
            <pc:sldMk cId="786632353" sldId="353"/>
            <ac:spMk id="41" creationId="{B0C71807-4CF9-4659-A240-2259CB30CDD5}"/>
          </ac:spMkLst>
        </pc:spChg>
        <pc:spChg chg="mod ord">
          <ac:chgData name="Castoriadis Pauline" userId="ccb5c65c-f81e-476d-a380-bc5d932e3d66" providerId="ADAL" clId="{BE8876F5-C2B1-412D-A29E-A708E86085AC}" dt="2021-11-13T08:43:44.846" v="99"/>
          <ac:spMkLst>
            <pc:docMk/>
            <pc:sldMk cId="786632353" sldId="353"/>
            <ac:spMk id="42" creationId="{353382C1-D5AD-4660-ADE0-EFF03EC5B1E4}"/>
          </ac:spMkLst>
        </pc:spChg>
        <pc:spChg chg="mod ord">
          <ac:chgData name="Castoriadis Pauline" userId="ccb5c65c-f81e-476d-a380-bc5d932e3d66" providerId="ADAL" clId="{BE8876F5-C2B1-412D-A29E-A708E86085AC}" dt="2021-11-13T08:43:44.847" v="103"/>
          <ac:spMkLst>
            <pc:docMk/>
            <pc:sldMk cId="786632353" sldId="353"/>
            <ac:spMk id="44" creationId="{446D586D-5FF4-4B94-AB16-1F39FBA992CA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52" creationId="{46B23FF4-F2E7-44A1-94AB-86D148E0B7E7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53" creationId="{56E90263-9A08-44D6-AF0A-F3B754C78B72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54" creationId="{2B720124-B5B7-450C-B2EF-BD213BED1432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55" creationId="{E0B50DD9-C750-426B-89FE-494EF11897DA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56" creationId="{F68A60A9-277F-48D1-9DC2-3AEB73A5C5AA}"/>
          </ac:spMkLst>
        </pc:spChg>
        <pc:spChg chg="del">
          <ac:chgData name="Castoriadis Pauline" userId="ccb5c65c-f81e-476d-a380-bc5d932e3d66" providerId="ADAL" clId="{BE8876F5-C2B1-412D-A29E-A708E86085AC}" dt="2021-11-13T08:42:05.567" v="1" actId="478"/>
          <ac:spMkLst>
            <pc:docMk/>
            <pc:sldMk cId="786632353" sldId="353"/>
            <ac:spMk id="57" creationId="{AE466EBF-5135-44D7-BB3D-C0D7BC0FA296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59" creationId="{C1BE8DE5-9BF3-4E3E-A52C-7E718513D645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61" creationId="{50C8C8C9-70DC-49A5-A6A8-E9DA26D26E0E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64" creationId="{6EBF67C2-8592-4DD3-9BB1-9CA8F31933BB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65" creationId="{077C037D-B9F8-44AF-8374-162D71A14A14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69" creationId="{A424DC33-13C0-4459-AF09-28F161A261DB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72" creationId="{DFB6C537-915C-4EF9-AB95-D6DBB2873219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77" creationId="{FEBCB78B-20A7-4972-A552-EAECF5D27A37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02" creationId="{3C093739-1C98-4761-9A5D-D145A21DF971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03" creationId="{DB6E8F1E-DA22-49FD-9B11-B2E43AF312A4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04" creationId="{BFD0523F-018F-4F48-828F-56B680E6B8A4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05" creationId="{FF38B496-D7AE-4D20-90FB-5E8AC895C194}"/>
          </ac:spMkLst>
        </pc:spChg>
        <pc:spChg chg="del">
          <ac:chgData name="Castoriadis Pauline" userId="ccb5c65c-f81e-476d-a380-bc5d932e3d66" providerId="ADAL" clId="{BE8876F5-C2B1-412D-A29E-A708E86085AC}" dt="2021-11-13T08:42:05.567" v="1" actId="478"/>
          <ac:spMkLst>
            <pc:docMk/>
            <pc:sldMk cId="786632353" sldId="353"/>
            <ac:spMk id="106" creationId="{2E5256C0-31B8-4FDB-96A7-FC266D1051B5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07" creationId="{557C30AA-05EC-49A9-A899-751C606F8CA8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08" creationId="{6C2A8EBF-E567-44A1-B089-92AD2EB0A112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09" creationId="{32332758-7DC6-4DF4-97C7-B84EBAB623C2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10" creationId="{6895FA33-55E5-409B-9793-AC4943DF467A}"/>
          </ac:spMkLst>
        </pc:spChg>
        <pc:spChg chg="del">
          <ac:chgData name="Castoriadis Pauline" userId="ccb5c65c-f81e-476d-a380-bc5d932e3d66" providerId="ADAL" clId="{BE8876F5-C2B1-412D-A29E-A708E86085AC}" dt="2021-11-13T08:42:05.567" v="1" actId="478"/>
          <ac:spMkLst>
            <pc:docMk/>
            <pc:sldMk cId="786632353" sldId="353"/>
            <ac:spMk id="111" creationId="{655DF0F7-B123-4976-9C8C-E15BE0BD138C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12" creationId="{CD606F5A-C8BF-4AAF-869B-9285D0996125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13" creationId="{82549066-74A5-4AD0-B2BA-1C3F28CB313A}"/>
          </ac:spMkLst>
        </pc:spChg>
        <pc:spChg chg="del">
          <ac:chgData name="Castoriadis Pauline" userId="ccb5c65c-f81e-476d-a380-bc5d932e3d66" providerId="ADAL" clId="{BE8876F5-C2B1-412D-A29E-A708E86085AC}" dt="2021-11-13T08:42:05.567" v="1" actId="478"/>
          <ac:spMkLst>
            <pc:docMk/>
            <pc:sldMk cId="786632353" sldId="353"/>
            <ac:spMk id="114" creationId="{E3513FA1-2BEC-4736-9499-7159BC0AB52F}"/>
          </ac:spMkLst>
        </pc:spChg>
        <pc:spChg chg="mod ord">
          <ac:chgData name="Castoriadis Pauline" userId="ccb5c65c-f81e-476d-a380-bc5d932e3d66" providerId="ADAL" clId="{BE8876F5-C2B1-412D-A29E-A708E86085AC}" dt="2021-11-13T08:43:44.886" v="267"/>
          <ac:spMkLst>
            <pc:docMk/>
            <pc:sldMk cId="786632353" sldId="353"/>
            <ac:spMk id="115" creationId="{351CA029-0B18-43E0-A1F2-5D5A5D542ADA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16" creationId="{8FB2D137-4C03-40B8-B16E-2DBBF0336836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17" creationId="{17FE9A3E-92AF-4338-A40A-A2E3D0C76AE5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19" creationId="{68B31F44-57F4-4A3F-96CA-8A3A352303A2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20" creationId="{CB37C9F8-D3DC-4F11-B566-211198D48559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21" creationId="{B315C959-EE91-491F-B3D2-480D0EB4BC5F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22" creationId="{F0612000-6540-4877-A736-1C977768B47A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23" creationId="{E9F3E791-2BF4-4562-9AB2-8EF23D26DC4E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24" creationId="{6F8EBD92-6361-4E44-99BA-188275BE6CD4}"/>
          </ac:spMkLst>
        </pc:spChg>
        <pc:spChg chg="mod ord">
          <ac:chgData name="Castoriadis Pauline" userId="ccb5c65c-f81e-476d-a380-bc5d932e3d66" providerId="ADAL" clId="{BE8876F5-C2B1-412D-A29E-A708E86085AC}" dt="2021-11-13T08:43:44.887" v="271"/>
          <ac:spMkLst>
            <pc:docMk/>
            <pc:sldMk cId="786632353" sldId="353"/>
            <ac:spMk id="125" creationId="{8637CADB-784F-437E-91B0-9D0351A361A8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27" creationId="{EB7851E9-5FCE-49EE-A8BD-32390C40E527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28" creationId="{8EC58EAD-993C-414F-A049-344BD7FF7C37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29" creationId="{593DB2AF-2AE9-485D-A654-4C1C94BBA844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30" creationId="{CC32EEDF-FBC8-407D-AC40-ADC7ED2811CE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31" creationId="{E99FC08B-4979-4372-81CA-93B0B075A4F4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32" creationId="{3F3B88EC-AE4A-4439-8853-7EDF43D39337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33" creationId="{CA1AFAE3-9D4C-4275-9112-57F6DD3F7362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34" creationId="{CBDD03CE-1750-4C9A-B6D2-52A8F51A4804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35" creationId="{B461EE5F-1A69-4CA3-BE2E-726F26315064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36" creationId="{9C8A76CA-C547-4FDB-A1D5-263474C17ECB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37" creationId="{DA180395-8B9D-4D0D-B371-62CD792AD682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38" creationId="{3F244DD7-CC21-4737-9460-F2EA640F3F71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39" creationId="{7FFCD3E2-40D5-48FE-9D0F-0A9897B85EAE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40" creationId="{197F41BD-BD53-40BE-A4A3-A76CBF4E687E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41" creationId="{6916392F-4818-420D-BBAC-88E96FE016D2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42" creationId="{E84A9A1A-31B2-4CBE-81D1-F7856C331142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43" creationId="{911E9E1B-DCB3-40E3-B341-998EC0999A6E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44" creationId="{672446A2-3E96-49FE-907D-2782926D0322}"/>
          </ac:spMkLst>
        </pc:spChg>
        <pc:spChg chg="add 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45" creationId="{CB371779-BFB6-496D-83F1-EE765BB303D3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46" creationId="{00492DE8-C10D-4950-A1B4-2C84554D30D6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47" creationId="{6693AC1B-AA90-46BE-9741-506948FC366F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48" creationId="{E26AD863-6FF5-452A-B1A2-DAE00A56C88D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49" creationId="{54EE10CA-7211-4AA4-B9CE-AB7783606AE6}"/>
          </ac:spMkLst>
        </pc:spChg>
        <pc:grpChg chg="mod ord">
          <ac:chgData name="Castoriadis Pauline" userId="ccb5c65c-f81e-476d-a380-bc5d932e3d66" providerId="ADAL" clId="{BE8876F5-C2B1-412D-A29E-A708E86085AC}" dt="2021-11-13T08:43:44.842" v="79"/>
          <ac:grpSpMkLst>
            <pc:docMk/>
            <pc:sldMk cId="786632353" sldId="353"/>
            <ac:grpSpMk id="30" creationId="{59BC9850-3059-4197-89D4-2CFAB90549F4}"/>
          </ac:grpSpMkLst>
        </pc:grpChg>
        <pc:graphicFrameChg chg="mod">
          <ac:chgData name="Castoriadis Pauline" userId="ccb5c65c-f81e-476d-a380-bc5d932e3d66" providerId="ADAL" clId="{BE8876F5-C2B1-412D-A29E-A708E86085AC}" dt="2021-11-13T08:43:44.894" v="279"/>
          <ac:graphicFrameMkLst>
            <pc:docMk/>
            <pc:sldMk cId="786632353" sldId="353"/>
            <ac:graphicFrameMk id="5" creationId="{563ECDA8-3053-4B9E-8D6A-AAF5BC86A822}"/>
          </ac:graphicFrameMkLst>
        </pc:graphicFrame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6" creationId="{1DBC5B36-F680-4642-82B3-77BB4B78D345}"/>
          </ac:picMkLst>
        </pc:picChg>
        <pc:picChg chg="mod ord">
          <ac:chgData name="Castoriadis Pauline" userId="ccb5c65c-f81e-476d-a380-bc5d932e3d66" providerId="ADAL" clId="{BE8876F5-C2B1-412D-A29E-A708E86085AC}" dt="2021-11-13T08:43:44.848" v="107"/>
          <ac:picMkLst>
            <pc:docMk/>
            <pc:sldMk cId="786632353" sldId="353"/>
            <ac:picMk id="46" creationId="{48B33A77-BBCE-453C-AADD-61493CEC5C7F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66" creationId="{3181DFF1-2E70-480C-B673-35F6F7E3BEFC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67" creationId="{70CAE759-0CC5-47B8-872C-80DDED97FCF3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74" creationId="{C091FA5F-D048-49AA-B0B9-FAFDD3E5B7B2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75" creationId="{79A9DD2D-2EAB-4FB7-9757-B054CB1ED83A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83" creationId="{E3005EC8-0FB6-4184-80FF-5C9C8A20AA97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84" creationId="{A635BAD3-36AF-4D80-8A2B-5B7E051F1DB0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85" creationId="{EF8681A1-7EBE-46AC-8754-4B95A6A64377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86" creationId="{E78EFD8B-EEAC-4660-9EF4-489CDE22A045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87" creationId="{CD3C00F6-4BC7-411C-A1C4-B296EBF473BE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88" creationId="{8B3006F9-C105-4620-ACBD-FAEF86BBFB8E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89" creationId="{E5D3B132-3DBC-4678-BBE0-31E601C277EA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90" creationId="{87B8120F-F9F8-4C4E-95E8-DAFDF5DD78C6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91" creationId="{74D09962-CCEA-4844-A9D5-A014ED3A659F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92" creationId="{DC191085-52AA-45EB-B052-59EEDEAC8C5C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93" creationId="{866D1E40-D3FC-4B9D-8936-F46490527E49}"/>
          </ac:picMkLst>
        </pc:picChg>
        <pc:picChg chg="del">
          <ac:chgData name="Castoriadis Pauline" userId="ccb5c65c-f81e-476d-a380-bc5d932e3d66" providerId="ADAL" clId="{BE8876F5-C2B1-412D-A29E-A708E86085AC}" dt="2021-11-13T08:42:05.567" v="1" actId="478"/>
          <ac:picMkLst>
            <pc:docMk/>
            <pc:sldMk cId="786632353" sldId="353"/>
            <ac:picMk id="94" creationId="{5B3A641E-C629-4D18-A3AE-2D98D73A8943}"/>
          </ac:picMkLst>
        </pc:picChg>
        <pc:picChg chg="del">
          <ac:chgData name="Castoriadis Pauline" userId="ccb5c65c-f81e-476d-a380-bc5d932e3d66" providerId="ADAL" clId="{BE8876F5-C2B1-412D-A29E-A708E86085AC}" dt="2021-11-13T08:42:05.567" v="1" actId="478"/>
          <ac:picMkLst>
            <pc:docMk/>
            <pc:sldMk cId="786632353" sldId="353"/>
            <ac:picMk id="95" creationId="{33B19FE3-692B-4E94-A342-A9759F1AB577}"/>
          </ac:picMkLst>
        </pc:picChg>
        <pc:picChg chg="del">
          <ac:chgData name="Castoriadis Pauline" userId="ccb5c65c-f81e-476d-a380-bc5d932e3d66" providerId="ADAL" clId="{BE8876F5-C2B1-412D-A29E-A708E86085AC}" dt="2021-11-13T08:42:05.567" v="1" actId="478"/>
          <ac:picMkLst>
            <pc:docMk/>
            <pc:sldMk cId="786632353" sldId="353"/>
            <ac:picMk id="96" creationId="{42418E83-B13C-4E53-B0DF-A64E49F64EC7}"/>
          </ac:picMkLst>
        </pc:picChg>
        <pc:picChg chg="del">
          <ac:chgData name="Castoriadis Pauline" userId="ccb5c65c-f81e-476d-a380-bc5d932e3d66" providerId="ADAL" clId="{BE8876F5-C2B1-412D-A29E-A708E86085AC}" dt="2021-11-13T08:42:05.567" v="1" actId="478"/>
          <ac:picMkLst>
            <pc:docMk/>
            <pc:sldMk cId="786632353" sldId="353"/>
            <ac:picMk id="97" creationId="{35A908F7-E3B6-4813-AC64-D554D50C430A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98" creationId="{1742E466-E3DA-46A1-9143-A570B8D881C9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99" creationId="{9C7C7BA2-A6F0-4353-9D7A-94766C46AAE9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100" creationId="{154CE6D5-390E-4E07-B86A-37ABAA8BBBD6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101" creationId="{20A32A78-939F-4D9E-A7D5-DE1934846ADB}"/>
          </ac:picMkLst>
        </pc:picChg>
        <pc:picChg chg="mod ord">
          <ac:chgData name="Castoriadis Pauline" userId="ccb5c65c-f81e-476d-a380-bc5d932e3d66" providerId="ADAL" clId="{BE8876F5-C2B1-412D-A29E-A708E86085AC}" dt="2021-11-13T08:43:44.887" v="269"/>
          <ac:picMkLst>
            <pc:docMk/>
            <pc:sldMk cId="786632353" sldId="353"/>
            <ac:picMk id="118" creationId="{45381864-2A32-41C5-9CAB-29BF547F3B75}"/>
          </ac:picMkLst>
        </pc:picChg>
        <pc:picChg chg="mod ord">
          <ac:chgData name="Castoriadis Pauline" userId="ccb5c65c-f81e-476d-a380-bc5d932e3d66" providerId="ADAL" clId="{BE8876F5-C2B1-412D-A29E-A708E86085AC}" dt="2021-11-13T08:43:44.888" v="273"/>
          <ac:picMkLst>
            <pc:docMk/>
            <pc:sldMk cId="786632353" sldId="353"/>
            <ac:picMk id="126" creationId="{AEA65E01-73CC-400D-9796-01F10C61DDFB}"/>
          </ac:picMkLst>
        </pc:picChg>
        <pc:cxnChg chg="mod ord">
          <ac:chgData name="Castoriadis Pauline" userId="ccb5c65c-f81e-476d-a380-bc5d932e3d66" providerId="ADAL" clId="{BE8876F5-C2B1-412D-A29E-A708E86085AC}" dt="2021-11-13T08:43:44.843" v="83"/>
          <ac:cxnSpMkLst>
            <pc:docMk/>
            <pc:sldMk cId="786632353" sldId="353"/>
            <ac:cxnSpMk id="26" creationId="{F7571971-7509-4380-8830-A23C21BE18E4}"/>
          </ac:cxnSpMkLst>
        </pc:cxnChg>
        <pc:cxnChg chg="mod ord">
          <ac:chgData name="Castoriadis Pauline" userId="ccb5c65c-f81e-476d-a380-bc5d932e3d66" providerId="ADAL" clId="{BE8876F5-C2B1-412D-A29E-A708E86085AC}" dt="2021-11-13T08:43:44.843" v="85"/>
          <ac:cxnSpMkLst>
            <pc:docMk/>
            <pc:sldMk cId="786632353" sldId="353"/>
            <ac:cxnSpMk id="27" creationId="{DBFD4E2B-69D3-49CD-99FE-F3DBDC632CE5}"/>
          </ac:cxnSpMkLst>
        </pc:cxnChg>
        <pc:cxnChg chg="mod ord">
          <ac:chgData name="Castoriadis Pauline" userId="ccb5c65c-f81e-476d-a380-bc5d932e3d66" providerId="ADAL" clId="{BE8876F5-C2B1-412D-A29E-A708E86085AC}" dt="2021-11-13T08:43:44.844" v="91"/>
          <ac:cxnSpMkLst>
            <pc:docMk/>
            <pc:sldMk cId="786632353" sldId="353"/>
            <ac:cxnSpMk id="38" creationId="{4A36411D-D7C2-42AF-AFB9-C6E9BFF746C4}"/>
          </ac:cxnSpMkLst>
        </pc:cxnChg>
        <pc:cxnChg chg="mod ord">
          <ac:chgData name="Castoriadis Pauline" userId="ccb5c65c-f81e-476d-a380-bc5d932e3d66" providerId="ADAL" clId="{BE8876F5-C2B1-412D-A29E-A708E86085AC}" dt="2021-11-13T08:43:44.845" v="93"/>
          <ac:cxnSpMkLst>
            <pc:docMk/>
            <pc:sldMk cId="786632353" sldId="353"/>
            <ac:cxnSpMk id="39" creationId="{9007BFB9-BBFC-4589-B91D-E998CF0F1082}"/>
          </ac:cxnSpMkLst>
        </pc:cxnChg>
        <pc:cxnChg chg="mod ord">
          <ac:chgData name="Castoriadis Pauline" userId="ccb5c65c-f81e-476d-a380-bc5d932e3d66" providerId="ADAL" clId="{BE8876F5-C2B1-412D-A29E-A708E86085AC}" dt="2021-11-13T08:43:44.846" v="101"/>
          <ac:cxnSpMkLst>
            <pc:docMk/>
            <pc:sldMk cId="786632353" sldId="353"/>
            <ac:cxnSpMk id="43" creationId="{EF483067-27C1-4F57-925B-CAD4EE4EA10B}"/>
          </ac:cxnSpMkLst>
        </pc:cxnChg>
        <pc:cxnChg chg="mod ord">
          <ac:chgData name="Castoriadis Pauline" userId="ccb5c65c-f81e-476d-a380-bc5d932e3d66" providerId="ADAL" clId="{BE8876F5-C2B1-412D-A29E-A708E86085AC}" dt="2021-11-13T08:43:44.847" v="105"/>
          <ac:cxnSpMkLst>
            <pc:docMk/>
            <pc:sldMk cId="786632353" sldId="353"/>
            <ac:cxnSpMk id="45" creationId="{C6EDC6E2-297A-466E-B6B2-F5AA07F548B3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51" creationId="{5642398C-821A-4C8D-857C-D2383F05C9E3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58" creationId="{CDC1350E-9155-405A-91C8-A0A403A5252F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60" creationId="{22060B8E-0D57-4633-BDDC-4AC6E56CF0D7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62" creationId="{52241295-1757-49BD-BFDB-A51A9DA5E105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63" creationId="{301BF534-5F0B-4EDC-8D8F-2233128ECC9F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68" creationId="{DA574E51-1D33-40EB-A0C9-6CB476CB47BE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71" creationId="{0A470368-D43F-40D8-936D-29E3388652E5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76" creationId="{BB79BDB3-6E17-467C-B608-DC8A8A4A477F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78" creationId="{8B37DD04-47FB-475B-9020-BA001489122C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79" creationId="{057CB548-9097-415A-B6EA-CAD3F63767EF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80" creationId="{D1E0A54D-1CA7-4A77-9E71-2FD5052FE2A5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81" creationId="{E86284E4-AA82-45B4-9DFF-A94268D9997C}"/>
          </ac:cxnSpMkLst>
        </pc:cxnChg>
        <pc:cxnChg chg="del">
          <ac:chgData name="Castoriadis Pauline" userId="ccb5c65c-f81e-476d-a380-bc5d932e3d66" providerId="ADAL" clId="{BE8876F5-C2B1-412D-A29E-A708E86085AC}" dt="2021-11-13T08:42:05.567" v="1" actId="478"/>
          <ac:cxnSpMkLst>
            <pc:docMk/>
            <pc:sldMk cId="786632353" sldId="353"/>
            <ac:cxnSpMk id="82" creationId="{1B86496D-4E2A-4AA0-B995-3175C4EFA169}"/>
          </ac:cxnSpMkLst>
        </pc:cxnChg>
      </pc:sldChg>
      <pc:sldChg chg="addSp delSp modSp mod">
        <pc:chgData name="Castoriadis Pauline" userId="ccb5c65c-f81e-476d-a380-bc5d932e3d66" providerId="ADAL" clId="{BE8876F5-C2B1-412D-A29E-A708E86085AC}" dt="2021-11-19T08:27:00.848" v="3053" actId="478"/>
        <pc:sldMkLst>
          <pc:docMk/>
          <pc:sldMk cId="1328712484" sldId="356"/>
        </pc:sldMkLst>
        <pc:spChg chg="mod">
          <ac:chgData name="Castoriadis Pauline" userId="ccb5c65c-f81e-476d-a380-bc5d932e3d66" providerId="ADAL" clId="{BE8876F5-C2B1-412D-A29E-A708E86085AC}" dt="2021-11-17T06:59:02.493" v="1470" actId="113"/>
          <ac:spMkLst>
            <pc:docMk/>
            <pc:sldMk cId="1328712484" sldId="356"/>
            <ac:spMk id="19" creationId="{CEA57582-F555-4F22-BE74-52E84792413F}"/>
          </ac:spMkLst>
        </pc:spChg>
        <pc:spChg chg="mod">
          <ac:chgData name="Castoriadis Pauline" userId="ccb5c65c-f81e-476d-a380-bc5d932e3d66" providerId="ADAL" clId="{BE8876F5-C2B1-412D-A29E-A708E86085AC}" dt="2021-11-17T07:10:29.556" v="3040" actId="403"/>
          <ac:spMkLst>
            <pc:docMk/>
            <pc:sldMk cId="1328712484" sldId="356"/>
            <ac:spMk id="20" creationId="{8A1E23FD-ADC3-4649-8E23-2D666016D65A}"/>
          </ac:spMkLst>
        </pc:spChg>
        <pc:spChg chg="del mod">
          <ac:chgData name="Castoriadis Pauline" userId="ccb5c65c-f81e-476d-a380-bc5d932e3d66" providerId="ADAL" clId="{BE8876F5-C2B1-412D-A29E-A708E86085AC}" dt="2021-11-17T06:58:31.139" v="1429" actId="478"/>
          <ac:spMkLst>
            <pc:docMk/>
            <pc:sldMk cId="1328712484" sldId="356"/>
            <ac:spMk id="29" creationId="{4F16B663-B3AE-45FC-A113-C9EEE706D7DC}"/>
          </ac:spMkLst>
        </pc:spChg>
        <pc:spChg chg="add del mod">
          <ac:chgData name="Castoriadis Pauline" userId="ccb5c65c-f81e-476d-a380-bc5d932e3d66" providerId="ADAL" clId="{BE8876F5-C2B1-412D-A29E-A708E86085AC}" dt="2021-11-19T08:27:00.848" v="3053" actId="478"/>
          <ac:spMkLst>
            <pc:docMk/>
            <pc:sldMk cId="1328712484" sldId="356"/>
            <ac:spMk id="30" creationId="{296AAC41-A080-4C4A-85FC-D6AF287518C8}"/>
          </ac:spMkLst>
        </pc:spChg>
      </pc:sldChg>
      <pc:sldChg chg="modSp mod">
        <pc:chgData name="Castoriadis Pauline" userId="ccb5c65c-f81e-476d-a380-bc5d932e3d66" providerId="ADAL" clId="{BE8876F5-C2B1-412D-A29E-A708E86085AC}" dt="2021-11-19T10:52:57.427" v="3348" actId="1036"/>
        <pc:sldMkLst>
          <pc:docMk/>
          <pc:sldMk cId="2290166486" sldId="357"/>
        </pc:sldMkLst>
        <pc:spChg chg="mod">
          <ac:chgData name="Castoriadis Pauline" userId="ccb5c65c-f81e-476d-a380-bc5d932e3d66" providerId="ADAL" clId="{BE8876F5-C2B1-412D-A29E-A708E86085AC}" dt="2021-11-19T10:52:57.427" v="3348" actId="1036"/>
          <ac:spMkLst>
            <pc:docMk/>
            <pc:sldMk cId="2290166486" sldId="357"/>
            <ac:spMk id="7" creationId="{519DBD6B-6811-4A71-A5F5-56637EA5E06E}"/>
          </ac:spMkLst>
        </pc:spChg>
        <pc:spChg chg="mod">
          <ac:chgData name="Castoriadis Pauline" userId="ccb5c65c-f81e-476d-a380-bc5d932e3d66" providerId="ADAL" clId="{BE8876F5-C2B1-412D-A29E-A708E86085AC}" dt="2021-11-13T08:47:32.201" v="571" actId="20577"/>
          <ac:spMkLst>
            <pc:docMk/>
            <pc:sldMk cId="2290166486" sldId="357"/>
            <ac:spMk id="36" creationId="{28FC9C7E-8E23-474F-8B94-B349493C2BDB}"/>
          </ac:spMkLst>
        </pc:spChg>
      </pc:sldChg>
      <pc:sldChg chg="addSp delSp modSp add mod">
        <pc:chgData name="Castoriadis Pauline" userId="ccb5c65c-f81e-476d-a380-bc5d932e3d66" providerId="ADAL" clId="{BE8876F5-C2B1-412D-A29E-A708E86085AC}" dt="2021-11-19T10:57:55.156" v="3433" actId="1035"/>
        <pc:sldMkLst>
          <pc:docMk/>
          <pc:sldMk cId="490308201" sldId="358"/>
        </pc:sldMkLst>
        <pc:spChg chg="del mod">
          <ac:chgData name="Castoriadis Pauline" userId="ccb5c65c-f81e-476d-a380-bc5d932e3d66" providerId="ADAL" clId="{BE8876F5-C2B1-412D-A29E-A708E86085AC}" dt="2021-11-19T10:09:26.579" v="3259" actId="478"/>
          <ac:spMkLst>
            <pc:docMk/>
            <pc:sldMk cId="490308201" sldId="358"/>
            <ac:spMk id="2" creationId="{55CD2EDD-083E-4456-A3A3-7D7AC3844EFE}"/>
          </ac:spMkLst>
        </pc:spChg>
        <pc:spChg chg="add del">
          <ac:chgData name="Castoriadis Pauline" userId="ccb5c65c-f81e-476d-a380-bc5d932e3d66" providerId="ADAL" clId="{BE8876F5-C2B1-412D-A29E-A708E86085AC}" dt="2021-11-19T10:54:17.784" v="3352" actId="478"/>
          <ac:spMkLst>
            <pc:docMk/>
            <pc:sldMk cId="490308201" sldId="358"/>
            <ac:spMk id="12" creationId="{D0816CD8-5B97-4FB1-9F2C-DA56A91FA86A}"/>
          </ac:spMkLst>
        </pc:spChg>
        <pc:spChg chg="mod">
          <ac:chgData name="Castoriadis Pauline" userId="ccb5c65c-f81e-476d-a380-bc5d932e3d66" providerId="ADAL" clId="{BE8876F5-C2B1-412D-A29E-A708E86085AC}" dt="2021-11-19T10:57:40.859" v="3405" actId="20577"/>
          <ac:spMkLst>
            <pc:docMk/>
            <pc:sldMk cId="490308201" sldId="358"/>
            <ac:spMk id="36" creationId="{28FC9C7E-8E23-474F-8B94-B349493C2BDB}"/>
          </ac:spMkLst>
        </pc:spChg>
        <pc:spChg chg="add del mod">
          <ac:chgData name="Castoriadis Pauline" userId="ccb5c65c-f81e-476d-a380-bc5d932e3d66" providerId="ADAL" clId="{BE8876F5-C2B1-412D-A29E-A708E86085AC}" dt="2021-11-19T10:54:34.426" v="3354" actId="478"/>
          <ac:spMkLst>
            <pc:docMk/>
            <pc:sldMk cId="490308201" sldId="358"/>
            <ac:spMk id="51" creationId="{E9332740-CB9A-4FD7-81FE-41BFA7D8B6D3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52" creationId="{46B23FF4-F2E7-44A1-94AB-86D148E0B7E7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53" creationId="{56E90263-9A08-44D6-AF0A-F3B754C78B72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54" creationId="{2B720124-B5B7-450C-B2EF-BD213BED1432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55" creationId="{E0B50DD9-C750-426B-89FE-494EF11897DA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56" creationId="{F68A60A9-277F-48D1-9DC2-3AEB73A5C5AA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59" creationId="{C1BE8DE5-9BF3-4E3E-A52C-7E718513D645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61" creationId="{50C8C8C9-70DC-49A5-A6A8-E9DA26D26E0E}"/>
          </ac:spMkLst>
        </pc:spChg>
        <pc:spChg chg="del">
          <ac:chgData name="Castoriadis Pauline" userId="ccb5c65c-f81e-476d-a380-bc5d932e3d66" providerId="ADAL" clId="{BE8876F5-C2B1-412D-A29E-A708E86085AC}" dt="2021-11-13T08:47:04.612" v="560" actId="478"/>
          <ac:spMkLst>
            <pc:docMk/>
            <pc:sldMk cId="490308201" sldId="358"/>
            <ac:spMk id="64" creationId="{6EBF67C2-8592-4DD3-9BB1-9CA8F31933BB}"/>
          </ac:spMkLst>
        </pc:spChg>
        <pc:spChg chg="del">
          <ac:chgData name="Castoriadis Pauline" userId="ccb5c65c-f81e-476d-a380-bc5d932e3d66" providerId="ADAL" clId="{BE8876F5-C2B1-412D-A29E-A708E86085AC}" dt="2021-11-13T08:47:04.612" v="560" actId="478"/>
          <ac:spMkLst>
            <pc:docMk/>
            <pc:sldMk cId="490308201" sldId="358"/>
            <ac:spMk id="65" creationId="{077C037D-B9F8-44AF-8374-162D71A14A14}"/>
          </ac:spMkLst>
        </pc:spChg>
        <pc:spChg chg="del">
          <ac:chgData name="Castoriadis Pauline" userId="ccb5c65c-f81e-476d-a380-bc5d932e3d66" providerId="ADAL" clId="{BE8876F5-C2B1-412D-A29E-A708E86085AC}" dt="2021-11-13T08:47:04.612" v="560" actId="478"/>
          <ac:spMkLst>
            <pc:docMk/>
            <pc:sldMk cId="490308201" sldId="358"/>
            <ac:spMk id="69" creationId="{A424DC33-13C0-4459-AF09-28F161A261DB}"/>
          </ac:spMkLst>
        </pc:spChg>
        <pc:spChg chg="del">
          <ac:chgData name="Castoriadis Pauline" userId="ccb5c65c-f81e-476d-a380-bc5d932e3d66" providerId="ADAL" clId="{BE8876F5-C2B1-412D-A29E-A708E86085AC}" dt="2021-11-13T08:47:04.612" v="560" actId="478"/>
          <ac:spMkLst>
            <pc:docMk/>
            <pc:sldMk cId="490308201" sldId="358"/>
            <ac:spMk id="72" creationId="{DFB6C537-915C-4EF9-AB95-D6DBB2873219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77" creationId="{FEBCB78B-20A7-4972-A552-EAECF5D27A37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02" creationId="{3C093739-1C98-4761-9A5D-D145A21DF971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03" creationId="{DB6E8F1E-DA22-49FD-9B11-B2E43AF312A4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04" creationId="{BFD0523F-018F-4F48-828F-56B680E6B8A4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05" creationId="{FF38B496-D7AE-4D20-90FB-5E8AC895C194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07" creationId="{557C30AA-05EC-49A9-A899-751C606F8CA8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08" creationId="{6C2A8EBF-E567-44A1-B089-92AD2EB0A112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09" creationId="{32332758-7DC6-4DF4-97C7-B84EBAB623C2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10" creationId="{6895FA33-55E5-409B-9793-AC4943DF467A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12" creationId="{CD606F5A-C8BF-4AAF-869B-9285D0996125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13" creationId="{82549066-74A5-4AD0-B2BA-1C3F28CB313A}"/>
          </ac:spMkLst>
        </pc:spChg>
        <pc:spChg chg="add mod">
          <ac:chgData name="Castoriadis Pauline" userId="ccb5c65c-f81e-476d-a380-bc5d932e3d66" providerId="ADAL" clId="{BE8876F5-C2B1-412D-A29E-A708E86085AC}" dt="2021-11-13T08:47:12.149" v="562"/>
          <ac:spMkLst>
            <pc:docMk/>
            <pc:sldMk cId="490308201" sldId="358"/>
            <ac:spMk id="114" creationId="{785113DC-45B8-4053-948E-A4D6DFDCFB0D}"/>
          </ac:spMkLst>
        </pc:spChg>
        <pc:spChg chg="del">
          <ac:chgData name="Castoriadis Pauline" userId="ccb5c65c-f81e-476d-a380-bc5d932e3d66" providerId="ADAL" clId="{BE8876F5-C2B1-412D-A29E-A708E86085AC}" dt="2021-11-13T08:47:06.989" v="561" actId="478"/>
          <ac:spMkLst>
            <pc:docMk/>
            <pc:sldMk cId="490308201" sldId="358"/>
            <ac:spMk id="115" creationId="{351CA029-0B18-43E0-A1F2-5D5A5D542ADA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16" creationId="{8FB2D137-4C03-40B8-B16E-2DBBF0336836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17" creationId="{17FE9A3E-92AF-4338-A40A-A2E3D0C76AE5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19" creationId="{68B31F44-57F4-4A3F-96CA-8A3A352303A2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20" creationId="{CB37C9F8-D3DC-4F11-B566-211198D48559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21" creationId="{B315C959-EE91-491F-B3D2-480D0EB4BC5F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22" creationId="{F0612000-6540-4877-A736-1C977768B47A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23" creationId="{E9F3E791-2BF4-4562-9AB2-8EF23D26DC4E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24" creationId="{6F8EBD92-6361-4E44-99BA-188275BE6CD4}"/>
          </ac:spMkLst>
        </pc:spChg>
        <pc:spChg chg="del">
          <ac:chgData name="Castoriadis Pauline" userId="ccb5c65c-f81e-476d-a380-bc5d932e3d66" providerId="ADAL" clId="{BE8876F5-C2B1-412D-A29E-A708E86085AC}" dt="2021-11-13T08:47:06.989" v="561" actId="478"/>
          <ac:spMkLst>
            <pc:docMk/>
            <pc:sldMk cId="490308201" sldId="358"/>
            <ac:spMk id="125" creationId="{8637CADB-784F-437E-91B0-9D0351A361A8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27" creationId="{EB7851E9-5FCE-49EE-A8BD-32390C40E527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28" creationId="{8EC58EAD-993C-414F-A049-344BD7FF7C37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29" creationId="{593DB2AF-2AE9-485D-A654-4C1C94BBA844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30" creationId="{CC32EEDF-FBC8-407D-AC40-ADC7ED2811CE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31" creationId="{E99FC08B-4979-4372-81CA-93B0B075A4F4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32" creationId="{3F3B88EC-AE4A-4439-8853-7EDF43D39337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33" creationId="{CA1AFAE3-9D4C-4275-9112-57F6DD3F7362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34" creationId="{CBDD03CE-1750-4C9A-B6D2-52A8F51A4804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35" creationId="{B461EE5F-1A69-4CA3-BE2E-726F26315064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36" creationId="{9C8A76CA-C547-4FDB-A1D5-263474C17ECB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37" creationId="{DA180395-8B9D-4D0D-B371-62CD792AD682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38" creationId="{3F244DD7-CC21-4737-9460-F2EA640F3F71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39" creationId="{7FFCD3E2-40D5-48FE-9D0F-0A9897B85EAE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40" creationId="{197F41BD-BD53-40BE-A4A3-A76CBF4E687E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41" creationId="{6916392F-4818-420D-BBAC-88E96FE016D2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42" creationId="{E84A9A1A-31B2-4CBE-81D1-F7856C331142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43" creationId="{911E9E1B-DCB3-40E3-B341-998EC0999A6E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44" creationId="{672446A2-3E96-49FE-907D-2782926D0322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45" creationId="{CB371779-BFB6-496D-83F1-EE765BB303D3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46" creationId="{00492DE8-C10D-4950-A1B4-2C84554D30D6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47" creationId="{6693AC1B-AA90-46BE-9741-506948FC366F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48" creationId="{E26AD863-6FF5-452A-B1A2-DAE00A56C88D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49" creationId="{54EE10CA-7211-4AA4-B9CE-AB7783606AE6}"/>
          </ac:spMkLst>
        </pc:spChg>
        <pc:spChg chg="add mod">
          <ac:chgData name="Castoriadis Pauline" userId="ccb5c65c-f81e-476d-a380-bc5d932e3d66" providerId="ADAL" clId="{BE8876F5-C2B1-412D-A29E-A708E86085AC}" dt="2021-11-13T08:47:12.149" v="562"/>
          <ac:spMkLst>
            <pc:docMk/>
            <pc:sldMk cId="490308201" sldId="358"/>
            <ac:spMk id="151" creationId="{7152BF8D-2836-4EB7-A5FE-8297F8618C3B}"/>
          </ac:spMkLst>
        </pc:spChg>
        <pc:picChg chg="add mod modCrop">
          <ac:chgData name="Castoriadis Pauline" userId="ccb5c65c-f81e-476d-a380-bc5d932e3d66" providerId="ADAL" clId="{BE8876F5-C2B1-412D-A29E-A708E86085AC}" dt="2021-11-19T10:57:51.091" v="3424" actId="1035"/>
          <ac:picMkLst>
            <pc:docMk/>
            <pc:sldMk cId="490308201" sldId="358"/>
            <ac:picMk id="4" creationId="{37010657-3B38-4216-9691-1C5E5FA1A72A}"/>
          </ac:picMkLst>
        </pc:picChg>
        <pc:picChg chg="add del">
          <ac:chgData name="Castoriadis Pauline" userId="ccb5c65c-f81e-476d-a380-bc5d932e3d66" providerId="ADAL" clId="{BE8876F5-C2B1-412D-A29E-A708E86085AC}" dt="2021-11-17T11:18:10.303" v="3043" actId="478"/>
          <ac:picMkLst>
            <pc:docMk/>
            <pc:sldMk cId="490308201" sldId="358"/>
            <ac:picMk id="4" creationId="{E4CCEE2F-2911-4D7B-A967-F5805C9E1EB2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6" creationId="{1DBC5B36-F680-4642-82B3-77BB4B78D345}"/>
          </ac:picMkLst>
        </pc:picChg>
        <pc:picChg chg="add del mod">
          <ac:chgData name="Castoriadis Pauline" userId="ccb5c65c-f81e-476d-a380-bc5d932e3d66" providerId="ADAL" clId="{BE8876F5-C2B1-412D-A29E-A708E86085AC}" dt="2021-11-19T10:05:18.445" v="3140" actId="478"/>
          <ac:picMkLst>
            <pc:docMk/>
            <pc:sldMk cId="490308201" sldId="358"/>
            <ac:picMk id="7" creationId="{5D153C29-57A6-4A77-B9D6-0C1108AFEEC1}"/>
          </ac:picMkLst>
        </pc:picChg>
        <pc:picChg chg="add del">
          <ac:chgData name="Castoriadis Pauline" userId="ccb5c65c-f81e-476d-a380-bc5d932e3d66" providerId="ADAL" clId="{BE8876F5-C2B1-412D-A29E-A708E86085AC}" dt="2021-11-17T11:20:52.454" v="3047" actId="478"/>
          <ac:picMkLst>
            <pc:docMk/>
            <pc:sldMk cId="490308201" sldId="358"/>
            <ac:picMk id="7" creationId="{D854F59C-D479-4C76-BE79-D03389BC0D71}"/>
          </ac:picMkLst>
        </pc:picChg>
        <pc:picChg chg="add del">
          <ac:chgData name="Castoriadis Pauline" userId="ccb5c65c-f81e-476d-a380-bc5d932e3d66" providerId="ADAL" clId="{BE8876F5-C2B1-412D-A29E-A708E86085AC}" dt="2021-11-19T10:03:35.967" v="3055" actId="478"/>
          <ac:picMkLst>
            <pc:docMk/>
            <pc:sldMk cId="490308201" sldId="358"/>
            <ac:picMk id="9" creationId="{0EA473C6-219E-4FA0-B7F5-AB31EB7F93BA}"/>
          </ac:picMkLst>
        </pc:picChg>
        <pc:picChg chg="add mod modCrop">
          <ac:chgData name="Castoriadis Pauline" userId="ccb5c65c-f81e-476d-a380-bc5d932e3d66" providerId="ADAL" clId="{BE8876F5-C2B1-412D-A29E-A708E86085AC}" dt="2021-11-19T10:57:55.156" v="3433" actId="1035"/>
          <ac:picMkLst>
            <pc:docMk/>
            <pc:sldMk cId="490308201" sldId="358"/>
            <ac:picMk id="10" creationId="{09D717C0-7CFB-4C99-92F8-7E0569AD56B6}"/>
          </ac:picMkLst>
        </pc:picChg>
        <pc:picChg chg="add del">
          <ac:chgData name="Castoriadis Pauline" userId="ccb5c65c-f81e-476d-a380-bc5d932e3d66" providerId="ADAL" clId="{BE8876F5-C2B1-412D-A29E-A708E86085AC}" dt="2021-11-19T10:03:34.865" v="3054" actId="478"/>
          <ac:picMkLst>
            <pc:docMk/>
            <pc:sldMk cId="490308201" sldId="358"/>
            <ac:picMk id="11" creationId="{1A13FC04-29A0-47AA-9354-CB6773EA3C41}"/>
          </ac:picMkLst>
        </pc:picChg>
        <pc:picChg chg="add del mod">
          <ac:chgData name="Castoriadis Pauline" userId="ccb5c65c-f81e-476d-a380-bc5d932e3d66" providerId="ADAL" clId="{BE8876F5-C2B1-412D-A29E-A708E86085AC}" dt="2021-11-19T10:05:21.547" v="3142" actId="21"/>
          <ac:picMkLst>
            <pc:docMk/>
            <pc:sldMk cId="490308201" sldId="358"/>
            <ac:picMk id="35" creationId="{2F2BC010-5F39-4811-BD13-74CFE88BB3BB}"/>
          </ac:picMkLst>
        </pc:picChg>
        <pc:picChg chg="add mod modCrop">
          <ac:chgData name="Castoriadis Pauline" userId="ccb5c65c-f81e-476d-a380-bc5d932e3d66" providerId="ADAL" clId="{BE8876F5-C2B1-412D-A29E-A708E86085AC}" dt="2021-11-19T10:57:55.156" v="3433" actId="1035"/>
          <ac:picMkLst>
            <pc:docMk/>
            <pc:sldMk cId="490308201" sldId="358"/>
            <ac:picMk id="37" creationId="{99DE932B-43A6-4502-BDDC-0F6541513D79}"/>
          </ac:picMkLst>
        </pc:picChg>
        <pc:picChg chg="add mod modCrop">
          <ac:chgData name="Castoriadis Pauline" userId="ccb5c65c-f81e-476d-a380-bc5d932e3d66" providerId="ADAL" clId="{BE8876F5-C2B1-412D-A29E-A708E86085AC}" dt="2021-11-19T10:57:51.091" v="3424" actId="1035"/>
          <ac:picMkLst>
            <pc:docMk/>
            <pc:sldMk cId="490308201" sldId="358"/>
            <ac:picMk id="47" creationId="{76242061-8A46-4D16-9924-41872C5928B5}"/>
          </ac:picMkLst>
        </pc:picChg>
        <pc:picChg chg="add mod modCrop">
          <ac:chgData name="Castoriadis Pauline" userId="ccb5c65c-f81e-476d-a380-bc5d932e3d66" providerId="ADAL" clId="{BE8876F5-C2B1-412D-A29E-A708E86085AC}" dt="2021-11-19T10:57:51.091" v="3424" actId="1035"/>
          <ac:picMkLst>
            <pc:docMk/>
            <pc:sldMk cId="490308201" sldId="358"/>
            <ac:picMk id="48" creationId="{BF5551BE-9F5A-4CA1-9737-AD4A2C423B93}"/>
          </ac:picMkLst>
        </pc:picChg>
        <pc:picChg chg="add mod modCrop">
          <ac:chgData name="Castoriadis Pauline" userId="ccb5c65c-f81e-476d-a380-bc5d932e3d66" providerId="ADAL" clId="{BE8876F5-C2B1-412D-A29E-A708E86085AC}" dt="2021-11-19T10:57:51.091" v="3424" actId="1035"/>
          <ac:picMkLst>
            <pc:docMk/>
            <pc:sldMk cId="490308201" sldId="358"/>
            <ac:picMk id="49" creationId="{86412337-4C6F-4B86-8FC6-B34275C3339B}"/>
          </ac:picMkLst>
        </pc:picChg>
        <pc:picChg chg="add mod modCrop">
          <ac:chgData name="Castoriadis Pauline" userId="ccb5c65c-f81e-476d-a380-bc5d932e3d66" providerId="ADAL" clId="{BE8876F5-C2B1-412D-A29E-A708E86085AC}" dt="2021-11-19T10:57:51.091" v="3424" actId="1035"/>
          <ac:picMkLst>
            <pc:docMk/>
            <pc:sldMk cId="490308201" sldId="358"/>
            <ac:picMk id="50" creationId="{6829D3B0-0645-4B75-A86A-5992A5F19D0F}"/>
          </ac:picMkLst>
        </pc:picChg>
        <pc:picChg chg="del">
          <ac:chgData name="Castoriadis Pauline" userId="ccb5c65c-f81e-476d-a380-bc5d932e3d66" providerId="ADAL" clId="{BE8876F5-C2B1-412D-A29E-A708E86085AC}" dt="2021-11-13T08:47:04.612" v="560" actId="478"/>
          <ac:picMkLst>
            <pc:docMk/>
            <pc:sldMk cId="490308201" sldId="358"/>
            <ac:picMk id="66" creationId="{3181DFF1-2E70-480C-B673-35F6F7E3BEFC}"/>
          </ac:picMkLst>
        </pc:picChg>
        <pc:picChg chg="del">
          <ac:chgData name="Castoriadis Pauline" userId="ccb5c65c-f81e-476d-a380-bc5d932e3d66" providerId="ADAL" clId="{BE8876F5-C2B1-412D-A29E-A708E86085AC}" dt="2021-11-13T08:47:04.612" v="560" actId="478"/>
          <ac:picMkLst>
            <pc:docMk/>
            <pc:sldMk cId="490308201" sldId="358"/>
            <ac:picMk id="67" creationId="{70CAE759-0CC5-47B8-872C-80DDED97FCF3}"/>
          </ac:picMkLst>
        </pc:picChg>
        <pc:picChg chg="del">
          <ac:chgData name="Castoriadis Pauline" userId="ccb5c65c-f81e-476d-a380-bc5d932e3d66" providerId="ADAL" clId="{BE8876F5-C2B1-412D-A29E-A708E86085AC}" dt="2021-11-13T08:47:04.612" v="560" actId="478"/>
          <ac:picMkLst>
            <pc:docMk/>
            <pc:sldMk cId="490308201" sldId="358"/>
            <ac:picMk id="74" creationId="{C091FA5F-D048-49AA-B0B9-FAFDD3E5B7B2}"/>
          </ac:picMkLst>
        </pc:picChg>
        <pc:picChg chg="del">
          <ac:chgData name="Castoriadis Pauline" userId="ccb5c65c-f81e-476d-a380-bc5d932e3d66" providerId="ADAL" clId="{BE8876F5-C2B1-412D-A29E-A708E86085AC}" dt="2021-11-13T08:47:04.612" v="560" actId="478"/>
          <ac:picMkLst>
            <pc:docMk/>
            <pc:sldMk cId="490308201" sldId="358"/>
            <ac:picMk id="75" creationId="{79A9DD2D-2EAB-4FB7-9757-B054CB1ED83A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83" creationId="{E3005EC8-0FB6-4184-80FF-5C9C8A20AA97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84" creationId="{A635BAD3-36AF-4D80-8A2B-5B7E051F1DB0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85" creationId="{EF8681A1-7EBE-46AC-8754-4B95A6A64377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86" creationId="{E78EFD8B-EEAC-4660-9EF4-489CDE22A045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87" creationId="{CD3C00F6-4BC7-411C-A1C4-B296EBF473BE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88" creationId="{8B3006F9-C105-4620-ACBD-FAEF86BBFB8E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89" creationId="{E5D3B132-3DBC-4678-BBE0-31E601C277EA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90" creationId="{87B8120F-F9F8-4C4E-95E8-DAFDF5DD78C6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91" creationId="{74D09962-CCEA-4844-A9D5-A014ED3A659F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92" creationId="{DC191085-52AA-45EB-B052-59EEDEAC8C5C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93" creationId="{866D1E40-D3FC-4B9D-8936-F46490527E49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98" creationId="{1742E466-E3DA-46A1-9143-A570B8D881C9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99" creationId="{9C7C7BA2-A6F0-4353-9D7A-94766C46AAE9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100" creationId="{154CE6D5-390E-4E07-B86A-37ABAA8BBBD6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101" creationId="{20A32A78-939F-4D9E-A7D5-DE1934846ADB}"/>
          </ac:picMkLst>
        </pc:picChg>
        <pc:picChg chg="del">
          <ac:chgData name="Castoriadis Pauline" userId="ccb5c65c-f81e-476d-a380-bc5d932e3d66" providerId="ADAL" clId="{BE8876F5-C2B1-412D-A29E-A708E86085AC}" dt="2021-11-13T08:47:06.989" v="561" actId="478"/>
          <ac:picMkLst>
            <pc:docMk/>
            <pc:sldMk cId="490308201" sldId="358"/>
            <ac:picMk id="118" creationId="{45381864-2A32-41C5-9CAB-29BF547F3B75}"/>
          </ac:picMkLst>
        </pc:picChg>
        <pc:picChg chg="del">
          <ac:chgData name="Castoriadis Pauline" userId="ccb5c65c-f81e-476d-a380-bc5d932e3d66" providerId="ADAL" clId="{BE8876F5-C2B1-412D-A29E-A708E86085AC}" dt="2021-11-13T08:47:06.989" v="561" actId="478"/>
          <ac:picMkLst>
            <pc:docMk/>
            <pc:sldMk cId="490308201" sldId="358"/>
            <ac:picMk id="126" creationId="{AEA65E01-73CC-400D-9796-01F10C61DDFB}"/>
          </ac:picMkLst>
        </pc:picChg>
        <pc:picChg chg="add mod">
          <ac:chgData name="Castoriadis Pauline" userId="ccb5c65c-f81e-476d-a380-bc5d932e3d66" providerId="ADAL" clId="{BE8876F5-C2B1-412D-A29E-A708E86085AC}" dt="2021-11-13T08:47:12.149" v="562"/>
          <ac:picMkLst>
            <pc:docMk/>
            <pc:sldMk cId="490308201" sldId="358"/>
            <ac:picMk id="150" creationId="{AC034949-1DBC-48A5-AEED-838212C9B6BA}"/>
          </ac:picMkLst>
        </pc:picChg>
        <pc:picChg chg="add mod">
          <ac:chgData name="Castoriadis Pauline" userId="ccb5c65c-f81e-476d-a380-bc5d932e3d66" providerId="ADAL" clId="{BE8876F5-C2B1-412D-A29E-A708E86085AC}" dt="2021-11-13T08:47:12.149" v="562"/>
          <ac:picMkLst>
            <pc:docMk/>
            <pc:sldMk cId="490308201" sldId="358"/>
            <ac:picMk id="152" creationId="{5F8448C7-6845-48F7-8763-B00F6CAB0745}"/>
          </ac:picMkLst>
        </pc:pic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51" creationId="{5642398C-821A-4C8D-857C-D2383F05C9E3}"/>
          </ac:cxnSpMkLst>
        </pc:cxn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58" creationId="{CDC1350E-9155-405A-91C8-A0A403A5252F}"/>
          </ac:cxnSpMkLst>
        </pc:cxn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60" creationId="{22060B8E-0D57-4633-BDDC-4AC6E56CF0D7}"/>
          </ac:cxnSpMkLst>
        </pc:cxn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62" creationId="{52241295-1757-49BD-BFDB-A51A9DA5E105}"/>
          </ac:cxnSpMkLst>
        </pc:cxn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63" creationId="{301BF534-5F0B-4EDC-8D8F-2233128ECC9F}"/>
          </ac:cxnSpMkLst>
        </pc:cxn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68" creationId="{DA574E51-1D33-40EB-A0C9-6CB476CB47BE}"/>
          </ac:cxnSpMkLst>
        </pc:cxn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71" creationId="{0A470368-D43F-40D8-936D-29E3388652E5}"/>
          </ac:cxnSpMkLst>
        </pc:cxn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76" creationId="{BB79BDB3-6E17-467C-B608-DC8A8A4A477F}"/>
          </ac:cxnSpMkLst>
        </pc:cxn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78" creationId="{8B37DD04-47FB-475B-9020-BA001489122C}"/>
          </ac:cxnSpMkLst>
        </pc:cxn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79" creationId="{057CB548-9097-415A-B6EA-CAD3F63767EF}"/>
          </ac:cxnSpMkLst>
        </pc:cxn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80" creationId="{D1E0A54D-1CA7-4A77-9E71-2FD5052FE2A5}"/>
          </ac:cxnSpMkLst>
        </pc:cxn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81" creationId="{E86284E4-AA82-45B4-9DFF-A94268D9997C}"/>
          </ac:cxnSpMkLst>
        </pc:cxn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B59641E1-1934-4AFD-859D-D0F31F2349A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462D3761-1D88-4747-B883-995E933972D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AAF1EDC4-8416-4E02-B3A1-11A423863C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1A7EE-4CAD-4F70-BDC6-8C50D505E4EA}" type="datetimeFigureOut">
              <a:rPr lang="fr-FR" smtClean="0"/>
              <a:t>07/04/2022</a:t>
            </a:fld>
            <a:endParaRPr lang="fr-FR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D79913AD-4F19-4F4B-9AA1-905285D1C8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B1F147EB-ABB9-479E-A403-685FAA94D5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58736120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843A8F8-7319-40CB-8094-EF73F315DE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>
            <a:extLst>
              <a:ext uri="{FF2B5EF4-FFF2-40B4-BE49-F238E27FC236}">
                <a16:creationId xmlns:a16="http://schemas.microsoft.com/office/drawing/2014/main" id="{49D160BA-8F87-436A-9CC9-37F0B403E08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216856AA-3041-4B6C-98C0-766CFC4478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1A7EE-4CAD-4F70-BDC6-8C50D505E4EA}" type="datetimeFigureOut">
              <a:rPr lang="fr-FR" smtClean="0"/>
              <a:t>07/04/2022</a:t>
            </a:fld>
            <a:endParaRPr lang="fr-FR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1FE9CE41-8092-4A86-99BA-92C7427750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D4178262-CC52-4FFF-8051-D14F45203E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09496404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>
            <a:extLst>
              <a:ext uri="{FF2B5EF4-FFF2-40B4-BE49-F238E27FC236}">
                <a16:creationId xmlns:a16="http://schemas.microsoft.com/office/drawing/2014/main" id="{425AFA66-262B-40A2-B09E-216AB1F283A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>
            <a:extLst>
              <a:ext uri="{FF2B5EF4-FFF2-40B4-BE49-F238E27FC236}">
                <a16:creationId xmlns:a16="http://schemas.microsoft.com/office/drawing/2014/main" id="{8C079150-A6C8-46DF-AA1C-41E5894743E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A5818B6-4A88-4B86-BBCB-84BF80A2BC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1A7EE-4CAD-4F70-BDC6-8C50D505E4EA}" type="datetimeFigureOut">
              <a:rPr lang="fr-FR" smtClean="0"/>
              <a:t>07/04/2022</a:t>
            </a:fld>
            <a:endParaRPr lang="fr-FR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8C6D4570-2DA0-4F1C-B14A-C8D95338B0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D3397366-84E7-4618-AC54-64F8ED5BF7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0949928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2156408-3CBE-4FBC-BE23-9C83399DC9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D49A01AD-1AA0-4513-B289-A60CCBB0AB3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D9784DD2-E4AD-446C-BA4C-5C5D2D6FBD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1A7EE-4CAD-4F70-BDC6-8C50D505E4EA}" type="datetimeFigureOut">
              <a:rPr lang="fr-FR" smtClean="0"/>
              <a:t>07/04/2022</a:t>
            </a:fld>
            <a:endParaRPr lang="fr-FR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E52609A8-6601-422E-80FA-0CCF1E1B5D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753681F4-D681-41DA-B08B-3D7C7868EC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46908324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D73A4BFF-58AA-4606-9BB2-65B9E964A9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C238BDB1-9268-451F-897A-9B8073723AE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B4C3DED7-C7C5-426F-BE1F-5B5B4B50AC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1A7EE-4CAD-4F70-BDC6-8C50D505E4EA}" type="datetimeFigureOut">
              <a:rPr lang="fr-FR" smtClean="0"/>
              <a:t>07/04/2022</a:t>
            </a:fld>
            <a:endParaRPr lang="fr-FR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E2A50E39-DFFB-4A1E-ADF9-61473488EA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ED61ED5-3372-48EE-A03B-90BC029381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1494054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723FC04-5176-493F-B3CC-235F345FDD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23D757E9-34FD-4FCE-BD29-4B08E35D136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5B72C118-406C-434F-85AE-D0531766A92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72F87A0F-F2BC-4FA9-85F9-C609AB591A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1A7EE-4CAD-4F70-BDC6-8C50D505E4EA}" type="datetimeFigureOut">
              <a:rPr lang="fr-FR" smtClean="0"/>
              <a:t>07/04/2022</a:t>
            </a:fld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C80CC997-E716-4ECB-A6B7-FF16C98A77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8408C3CF-81B9-48E6-B3FC-2FCFD1C3ED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69256524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D95307B6-7C11-46F2-8B32-BCDCAC617F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18AC4032-B322-469C-92F5-78A2FF6ED21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4424BD79-644A-496E-BC61-69AB1611B25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EA09E0BE-6219-431B-A8FB-CC970A80B77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id="{BDAC41D7-5C2D-4FCF-8D7D-FD1B72E6954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9E4E9A5F-C65C-4B03-88D3-8C3A862EAA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1A7EE-4CAD-4F70-BDC6-8C50D505E4EA}" type="datetimeFigureOut">
              <a:rPr lang="fr-FR" smtClean="0"/>
              <a:t>07/04/2022</a:t>
            </a:fld>
            <a:endParaRPr lang="fr-FR" dirty="0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5A7D4E40-8856-4CF0-9A4D-5CA5A5F4F3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0552EFBD-68C3-4ED5-A3BF-DB13A8F4DF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8427698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A320B01-FB52-426E-9E80-531D122178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A4688CCC-8EBF-4406-9337-FD00AF8CB8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1A7EE-4CAD-4F70-BDC6-8C50D505E4EA}" type="datetimeFigureOut">
              <a:rPr lang="fr-FR" smtClean="0"/>
              <a:t>07/04/2022</a:t>
            </a:fld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783A36D4-6B46-40FA-98EC-B8FC571C58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9C2F8E1D-EA7A-45AE-B415-4FDB08EABD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58732813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ECE25F96-E212-4A77-AA00-C9BEA798BD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1A7EE-4CAD-4F70-BDC6-8C50D505E4EA}" type="datetimeFigureOut">
              <a:rPr lang="fr-FR" smtClean="0"/>
              <a:t>07/04/2022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201A54E9-8542-457A-A56B-41C4CEDB1C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E7E4DAD5-650D-48E0-A2DC-654EC2F28B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628174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B813987-49C7-483D-88B6-2BC440E2F9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40EB7581-58FD-4745-B355-B48477F7059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93553E9E-9B24-41AB-8091-662CBF04A60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16A9A5DB-B298-4A62-A371-8F45B033FC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1A7EE-4CAD-4F70-BDC6-8C50D505E4EA}" type="datetimeFigureOut">
              <a:rPr lang="fr-FR" smtClean="0"/>
              <a:t>07/04/2022</a:t>
            </a:fld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D60862CE-F2B6-484D-B98E-C3972FA68D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F82CFBD7-CAA0-483F-8404-1AC084CE30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48155900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CA919BB-BBEE-437F-92D4-F3443EC34A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B75C8F4F-1E67-46CD-956E-D059701558A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 dirty="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4BBC2B48-6375-43F1-9A2A-1BB617C3A2E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01EE8AAA-545B-4313-951A-D8CF37CA44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1A7EE-4CAD-4F70-BDC6-8C50D505E4EA}" type="datetimeFigureOut">
              <a:rPr lang="fr-FR" smtClean="0"/>
              <a:t>07/04/2022</a:t>
            </a:fld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A32D1971-AAEA-4C2A-A3F3-95C15E96A3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6735E4F4-0D20-4D29-875A-279666B824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9162151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 7" hidden="1">
            <a:extLst>
              <a:ext uri="{FF2B5EF4-FFF2-40B4-BE49-F238E27FC236}">
                <a16:creationId xmlns:a16="http://schemas.microsoft.com/office/drawing/2014/main" id="{2CDEFB46-AF40-49FB-A472-3D8D2B6A4A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1391715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9" name="Diapositive think-cell" r:id="rId15" imgW="415" imgH="416" progId="TCLayout.ActiveDocument.1">
                  <p:embed/>
                </p:oleObj>
              </mc:Choice>
              <mc:Fallback>
                <p:oleObj name="Diapositive think-cell" r:id="rId15" imgW="415" imgH="416" progId="TCLayout.ActiveDocument.1">
                  <p:embed/>
                  <p:pic>
                    <p:nvPicPr>
                      <p:cNvPr id="8" name="Objet 7" hidden="1">
                        <a:extLst>
                          <a:ext uri="{FF2B5EF4-FFF2-40B4-BE49-F238E27FC236}">
                            <a16:creationId xmlns:a16="http://schemas.microsoft.com/office/drawing/2014/main" id="{2CDEFB46-AF40-49FB-A472-3D8D2B6A4A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3B6337B1-0A4D-4D9B-A106-2E41E008A0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C308FED0-4CDC-40FA-8D4C-5F94CE2B23C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ABF1BE86-E4B1-439B-9845-E8B4AAC92F6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11A7EE-4CAD-4F70-BDC6-8C50D505E4EA}" type="datetimeFigureOut">
              <a:rPr lang="fr-FR" smtClean="0"/>
              <a:t>07/04/2022</a:t>
            </a:fld>
            <a:endParaRPr lang="fr-FR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86F6B886-BB9C-4CD7-B0F7-2CBA927E8A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39916D3-E757-476D-84A4-3D758F070B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1156068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8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png"/><Relationship Id="rId11" Type="http://schemas.openxmlformats.org/officeDocument/2006/relationships/image" Target="../media/image22.png"/><Relationship Id="rId5" Type="http://schemas.openxmlformats.org/officeDocument/2006/relationships/image" Target="../media/image1.emf"/><Relationship Id="rId10" Type="http://schemas.openxmlformats.org/officeDocument/2006/relationships/image" Target="../media/image21.png"/><Relationship Id="rId4" Type="http://schemas.openxmlformats.org/officeDocument/2006/relationships/oleObject" Target="../embeddings/oleObject7.bin"/><Relationship Id="rId9" Type="http://schemas.openxmlformats.org/officeDocument/2006/relationships/image" Target="../media/image20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23.pn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Relationship Id="rId9" Type="http://schemas.openxmlformats.org/officeDocument/2006/relationships/image" Target="../media/image25.sv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27.png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6.png"/><Relationship Id="rId11" Type="http://schemas.openxmlformats.org/officeDocument/2006/relationships/hyperlink" Target="https://prediction-client.herokuapp.com/" TargetMode="External"/><Relationship Id="rId5" Type="http://schemas.openxmlformats.org/officeDocument/2006/relationships/image" Target="../media/image1.emf"/><Relationship Id="rId10" Type="http://schemas.openxmlformats.org/officeDocument/2006/relationships/hyperlink" Target="https://prediction-client-api.herokuapp.com/" TargetMode="External"/><Relationship Id="rId4" Type="http://schemas.openxmlformats.org/officeDocument/2006/relationships/oleObject" Target="../embeddings/oleObject10.bin"/><Relationship Id="rId9" Type="http://schemas.openxmlformats.org/officeDocument/2006/relationships/image" Target="../media/image29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2.png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2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3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hyperlink" Target="https://openclassrooms.com/fr/paths/164/projects/632/assignment" TargetMode="External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5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kaggle.com/c/home-credit-default-risk/data" TargetMode="External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6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12.png"/><Relationship Id="rId18" Type="http://schemas.openxmlformats.org/officeDocument/2006/relationships/image" Target="../media/image17.svg"/><Relationship Id="rId3" Type="http://schemas.openxmlformats.org/officeDocument/2006/relationships/slideLayout" Target="../slideLayouts/slideLayout7.xml"/><Relationship Id="rId7" Type="http://schemas.openxmlformats.org/officeDocument/2006/relationships/hyperlink" Target="https://www.kaggle.com/willkoehrsen/start-here-a-gentle-introduction" TargetMode="External"/><Relationship Id="rId12" Type="http://schemas.openxmlformats.org/officeDocument/2006/relationships/image" Target="../media/image11.svg"/><Relationship Id="rId17" Type="http://schemas.openxmlformats.org/officeDocument/2006/relationships/image" Target="../media/image16.png"/><Relationship Id="rId2" Type="http://schemas.openxmlformats.org/officeDocument/2006/relationships/tags" Target="../tags/tag5.xml"/><Relationship Id="rId16" Type="http://schemas.openxmlformats.org/officeDocument/2006/relationships/image" Target="../media/image15.svg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11" Type="http://schemas.openxmlformats.org/officeDocument/2006/relationships/image" Target="../media/image10.png"/><Relationship Id="rId5" Type="http://schemas.openxmlformats.org/officeDocument/2006/relationships/image" Target="../media/image1.emf"/><Relationship Id="rId15" Type="http://schemas.openxmlformats.org/officeDocument/2006/relationships/image" Target="../media/image14.png"/><Relationship Id="rId10" Type="http://schemas.openxmlformats.org/officeDocument/2006/relationships/image" Target="../media/image9.svg"/><Relationship Id="rId4" Type="http://schemas.openxmlformats.org/officeDocument/2006/relationships/oleObject" Target="../embeddings/oleObject4.bin"/><Relationship Id="rId9" Type="http://schemas.openxmlformats.org/officeDocument/2006/relationships/image" Target="../media/image8.png"/><Relationship Id="rId14" Type="http://schemas.openxmlformats.org/officeDocument/2006/relationships/image" Target="../media/image13.sv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 descr="Stratégies de data science dans le secteur retail : applications">
            <a:extLst>
              <a:ext uri="{FF2B5EF4-FFF2-40B4-BE49-F238E27FC236}">
                <a16:creationId xmlns:a16="http://schemas.microsoft.com/office/drawing/2014/main" id="{6E4744DE-1A7E-41CD-883C-61A7BD2A6CA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solidFill>
              <a:srgbClr val="9966FF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Des parcours diplômants et des cours gratuits 100% en ligne - OpenClassrooms">
            <a:extLst>
              <a:ext uri="{FF2B5EF4-FFF2-40B4-BE49-F238E27FC236}">
                <a16:creationId xmlns:a16="http://schemas.microsoft.com/office/drawing/2014/main" id="{E098F993-48EC-4212-A173-807F4664B18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41474" y="6346190"/>
            <a:ext cx="2746566" cy="328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8B36821D-E33B-469B-BD23-F01985B3E1B6}"/>
              </a:ext>
            </a:extLst>
          </p:cNvPr>
          <p:cNvSpPr/>
          <p:nvPr/>
        </p:nvSpPr>
        <p:spPr>
          <a:xfrm>
            <a:off x="2174240" y="2667000"/>
            <a:ext cx="7843520" cy="1524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4800" b="1" cap="all" dirty="0">
                <a:ln w="22225">
                  <a:solidFill>
                    <a:schemeClr val="bg1"/>
                  </a:solidFill>
                  <a:prstDash val="solid"/>
                </a:ln>
                <a:solidFill>
                  <a:schemeClr val="bg1"/>
                </a:solidFill>
              </a:rPr>
              <a:t>Parcours Data Scientist</a:t>
            </a:r>
          </a:p>
          <a:p>
            <a:pPr algn="ctr"/>
            <a:r>
              <a:rPr lang="fr-FR" sz="4800" b="1" cap="all" dirty="0">
                <a:ln w="22225">
                  <a:solidFill>
                    <a:schemeClr val="bg1"/>
                  </a:solidFill>
                  <a:prstDash val="solid"/>
                </a:ln>
                <a:solidFill>
                  <a:schemeClr val="bg1"/>
                </a:solidFill>
              </a:rPr>
              <a:t>2021-2022</a:t>
            </a:r>
          </a:p>
        </p:txBody>
      </p:sp>
    </p:spTree>
    <p:extLst>
      <p:ext uri="{BB962C8B-B14F-4D97-AF65-F5344CB8AC3E}">
        <p14:creationId xmlns:p14="http://schemas.microsoft.com/office/powerpoint/2010/main" val="415465459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10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2A64376D-B03F-430E-AB31-F93C3268EA01}"/>
              </a:ext>
            </a:extLst>
          </p:cNvPr>
          <p:cNvSpPr/>
          <p:nvPr/>
        </p:nvSpPr>
        <p:spPr>
          <a:xfrm>
            <a:off x="-101600" y="-10160"/>
            <a:ext cx="12293600" cy="6868160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8800" dirty="0"/>
              <a:t>	2. Modélisation</a:t>
            </a:r>
          </a:p>
          <a:p>
            <a:r>
              <a:rPr lang="fr-FR" sz="4000" dirty="0"/>
              <a:t>	Métrique de performance</a:t>
            </a:r>
          </a:p>
          <a:p>
            <a:r>
              <a:rPr lang="fr-FR" sz="4000" dirty="0"/>
              <a:t>	Méthodologie</a:t>
            </a:r>
          </a:p>
          <a:p>
            <a:r>
              <a:rPr lang="fr-FR" sz="4000" dirty="0"/>
              <a:t>	Modèle retenu</a:t>
            </a:r>
          </a:p>
        </p:txBody>
      </p:sp>
      <p:cxnSp>
        <p:nvCxnSpPr>
          <p:cNvPr id="4" name="Connecteur droit 3">
            <a:extLst>
              <a:ext uri="{FF2B5EF4-FFF2-40B4-BE49-F238E27FC236}">
                <a16:creationId xmlns:a16="http://schemas.microsoft.com/office/drawing/2014/main" id="{6628E5E9-8C81-4D31-A167-A0BD9A996233}"/>
              </a:ext>
            </a:extLst>
          </p:cNvPr>
          <p:cNvCxnSpPr/>
          <p:nvPr/>
        </p:nvCxnSpPr>
        <p:spPr>
          <a:xfrm>
            <a:off x="284480" y="3098800"/>
            <a:ext cx="1144682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0452120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183623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32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>
            <a:extLst>
              <a:ext uri="{FF2B5EF4-FFF2-40B4-BE49-F238E27FC236}">
                <a16:creationId xmlns:a16="http://schemas.microsoft.com/office/drawing/2014/main" id="{86A52CCD-9959-43E4-90E1-14C68071D2EF}"/>
              </a:ext>
            </a:extLst>
          </p:cNvPr>
          <p:cNvSpPr>
            <a:spLocks/>
          </p:cNvSpPr>
          <p:nvPr/>
        </p:nvSpPr>
        <p:spPr>
          <a:xfrm>
            <a:off x="-1546" y="0"/>
            <a:ext cx="12193545" cy="544108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sp>
        <p:nvSpPr>
          <p:cNvPr id="70" name="Oval 21">
            <a:extLst>
              <a:ext uri="{FF2B5EF4-FFF2-40B4-BE49-F238E27FC236}">
                <a16:creationId xmlns:a16="http://schemas.microsoft.com/office/drawing/2014/main" id="{21E00B41-C90D-4BDF-A077-C8F7B556C7BC}"/>
              </a:ext>
            </a:extLst>
          </p:cNvPr>
          <p:cNvSpPr>
            <a:spLocks/>
          </p:cNvSpPr>
          <p:nvPr/>
        </p:nvSpPr>
        <p:spPr>
          <a:xfrm>
            <a:off x="4891314" y="-223688"/>
            <a:ext cx="2409372" cy="1008000"/>
          </a:xfrm>
          <a:prstGeom prst="ellipse">
            <a:avLst/>
          </a:prstGeom>
          <a:solidFill>
            <a:srgbClr val="D7D8D7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solidFill>
                <a:srgbClr val="2A0068"/>
              </a:solidFill>
              <a:uFillTx/>
              <a:latin typeface="Baloo" panose="03080902040302020200" pitchFamily="66" charset="0"/>
              <a:cs typeface="Baloo" panose="03080902040302020200" pitchFamily="66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F990D0F-3A28-4858-B939-D0DB6600268A}"/>
              </a:ext>
            </a:extLst>
          </p:cNvPr>
          <p:cNvSpPr>
            <a:spLocks/>
          </p:cNvSpPr>
          <p:nvPr/>
        </p:nvSpPr>
        <p:spPr>
          <a:xfrm>
            <a:off x="4530058" y="-249582"/>
            <a:ext cx="3131884" cy="783727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cxnSp>
        <p:nvCxnSpPr>
          <p:cNvPr id="74" name="Straight Connector 36">
            <a:extLst>
              <a:ext uri="{FF2B5EF4-FFF2-40B4-BE49-F238E27FC236}">
                <a16:creationId xmlns:a16="http://schemas.microsoft.com/office/drawing/2014/main" id="{6AC8BA9A-5A95-442A-86B2-D6471C273567}"/>
              </a:ext>
            </a:extLst>
          </p:cNvPr>
          <p:cNvCxnSpPr/>
          <p:nvPr/>
        </p:nvCxnSpPr>
        <p:spPr>
          <a:xfrm>
            <a:off x="4696733" y="190333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36">
            <a:extLst>
              <a:ext uri="{FF2B5EF4-FFF2-40B4-BE49-F238E27FC236}">
                <a16:creationId xmlns:a16="http://schemas.microsoft.com/office/drawing/2014/main" id="{3F5750F7-3C85-48DA-BD57-0EB1C694D16F}"/>
              </a:ext>
            </a:extLst>
          </p:cNvPr>
          <p:cNvCxnSpPr/>
          <p:nvPr/>
        </p:nvCxnSpPr>
        <p:spPr>
          <a:xfrm>
            <a:off x="2028856" y="19759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26">
            <a:extLst>
              <a:ext uri="{FF2B5EF4-FFF2-40B4-BE49-F238E27FC236}">
                <a16:creationId xmlns:a16="http://schemas.microsoft.com/office/drawing/2014/main" id="{39F69F4E-3B4A-41B5-8C1D-64E9A4BC90EE}"/>
              </a:ext>
            </a:extLst>
          </p:cNvPr>
          <p:cNvSpPr txBox="1">
            <a:spLocks/>
          </p:cNvSpPr>
          <p:nvPr/>
        </p:nvSpPr>
        <p:spPr>
          <a:xfrm>
            <a:off x="7287" y="142281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TEXTE</a:t>
            </a:r>
          </a:p>
        </p:txBody>
      </p:sp>
      <p:sp>
        <p:nvSpPr>
          <p:cNvPr id="81" name="TextBox 26">
            <a:extLst>
              <a:ext uri="{FF2B5EF4-FFF2-40B4-BE49-F238E27FC236}">
                <a16:creationId xmlns:a16="http://schemas.microsoft.com/office/drawing/2014/main" id="{57D0B7C0-DC57-431F-8DD5-2F8B24747D09}"/>
              </a:ext>
            </a:extLst>
          </p:cNvPr>
          <p:cNvSpPr txBox="1">
            <a:spLocks/>
          </p:cNvSpPr>
          <p:nvPr/>
        </p:nvSpPr>
        <p:spPr>
          <a:xfrm>
            <a:off x="2059287" y="146805"/>
            <a:ext cx="2891751" cy="3059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rgbClr val="2A0068"/>
                </a:solidFill>
                <a:latin typeface="Trebuchet MS" panose="020B0603020202020204" pitchFamily="34" charset="0"/>
              </a:rPr>
              <a:t>MODÉLISATION</a:t>
            </a:r>
          </a:p>
        </p:txBody>
      </p:sp>
      <p:sp>
        <p:nvSpPr>
          <p:cNvPr id="84" name="TextBox 26">
            <a:extLst>
              <a:ext uri="{FF2B5EF4-FFF2-40B4-BE49-F238E27FC236}">
                <a16:creationId xmlns:a16="http://schemas.microsoft.com/office/drawing/2014/main" id="{1E58C3BE-332E-4F11-B42C-F57336CE0B8D}"/>
              </a:ext>
            </a:extLst>
          </p:cNvPr>
          <p:cNvSpPr txBox="1">
            <a:spLocks/>
          </p:cNvSpPr>
          <p:nvPr/>
        </p:nvSpPr>
        <p:spPr>
          <a:xfrm>
            <a:off x="7424298" y="146062"/>
            <a:ext cx="2664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DASHBOARD</a:t>
            </a:r>
          </a:p>
        </p:txBody>
      </p:sp>
      <p:cxnSp>
        <p:nvCxnSpPr>
          <p:cNvPr id="85" name="Straight Connector 36">
            <a:extLst>
              <a:ext uri="{FF2B5EF4-FFF2-40B4-BE49-F238E27FC236}">
                <a16:creationId xmlns:a16="http://schemas.microsoft.com/office/drawing/2014/main" id="{411CB50C-1596-4CB9-9B0E-267D9C2F34B7}"/>
              </a:ext>
            </a:extLst>
          </p:cNvPr>
          <p:cNvCxnSpPr/>
          <p:nvPr/>
        </p:nvCxnSpPr>
        <p:spPr>
          <a:xfrm>
            <a:off x="7536962" y="199069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Box 26">
            <a:extLst>
              <a:ext uri="{FF2B5EF4-FFF2-40B4-BE49-F238E27FC236}">
                <a16:creationId xmlns:a16="http://schemas.microsoft.com/office/drawing/2014/main" id="{8E08889D-90B1-4A70-870B-25FADA1C2B74}"/>
              </a:ext>
            </a:extLst>
          </p:cNvPr>
          <p:cNvSpPr txBox="1">
            <a:spLocks/>
          </p:cNvSpPr>
          <p:nvPr/>
        </p:nvSpPr>
        <p:spPr>
          <a:xfrm>
            <a:off x="10103603" y="144968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CLUSION / Q&amp;A</a:t>
            </a:r>
          </a:p>
        </p:txBody>
      </p:sp>
      <p:cxnSp>
        <p:nvCxnSpPr>
          <p:cNvPr id="87" name="Straight Connector 36">
            <a:extLst>
              <a:ext uri="{FF2B5EF4-FFF2-40B4-BE49-F238E27FC236}">
                <a16:creationId xmlns:a16="http://schemas.microsoft.com/office/drawing/2014/main" id="{31239E27-F713-401B-8124-334323060D0F}"/>
              </a:ext>
            </a:extLst>
          </p:cNvPr>
          <p:cNvCxnSpPr/>
          <p:nvPr/>
        </p:nvCxnSpPr>
        <p:spPr>
          <a:xfrm>
            <a:off x="10081246" y="19745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11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3" name="Image 2">
            <a:extLst>
              <a:ext uri="{FF2B5EF4-FFF2-40B4-BE49-F238E27FC236}">
                <a16:creationId xmlns:a16="http://schemas.microsoft.com/office/drawing/2014/main" id="{7A389926-05FB-4C34-A31D-E1334EF99F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8447" y="0"/>
            <a:ext cx="2524125" cy="495300"/>
          </a:xfrm>
          <a:prstGeom prst="rect">
            <a:avLst/>
          </a:prstGeom>
        </p:spPr>
      </p:pic>
      <p:cxnSp>
        <p:nvCxnSpPr>
          <p:cNvPr id="72" name="Straight Connector 23">
            <a:extLst>
              <a:ext uri="{FF2B5EF4-FFF2-40B4-BE49-F238E27FC236}">
                <a16:creationId xmlns:a16="http://schemas.microsoft.com/office/drawing/2014/main" id="{458739B1-4232-4A83-872D-8C59735FB7B8}"/>
              </a:ext>
            </a:extLst>
          </p:cNvPr>
          <p:cNvCxnSpPr>
            <a:cxnSpLocks/>
          </p:cNvCxnSpPr>
          <p:nvPr/>
        </p:nvCxnSpPr>
        <p:spPr>
          <a:xfrm flipV="1">
            <a:off x="7103948" y="540993"/>
            <a:ext cx="5118532" cy="11708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22">
            <a:extLst>
              <a:ext uri="{FF2B5EF4-FFF2-40B4-BE49-F238E27FC236}">
                <a16:creationId xmlns:a16="http://schemas.microsoft.com/office/drawing/2014/main" id="{3E677F3D-C08E-49B3-BFF4-7E1553EE5144}"/>
              </a:ext>
            </a:extLst>
          </p:cNvPr>
          <p:cNvCxnSpPr>
            <a:cxnSpLocks/>
          </p:cNvCxnSpPr>
          <p:nvPr/>
        </p:nvCxnSpPr>
        <p:spPr>
          <a:xfrm>
            <a:off x="-21590" y="548496"/>
            <a:ext cx="5117779" cy="14365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B3E40F35-6F18-4795-94D0-0D751C6B0722}"/>
              </a:ext>
            </a:extLst>
          </p:cNvPr>
          <p:cNvSpPr/>
          <p:nvPr/>
        </p:nvSpPr>
        <p:spPr>
          <a:xfrm>
            <a:off x="353226" y="892388"/>
            <a:ext cx="11484000" cy="52322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800" b="1" dirty="0">
                <a:solidFill>
                  <a:srgbClr val="2A0068"/>
                </a:solidFill>
              </a:rPr>
              <a:t>Quel est la mesure la plus adaptée à notre problème ?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5F6CA13-0500-4EA2-AFB2-194FE2DBE1CB}"/>
              </a:ext>
            </a:extLst>
          </p:cNvPr>
          <p:cNvSpPr/>
          <p:nvPr/>
        </p:nvSpPr>
        <p:spPr>
          <a:xfrm>
            <a:off x="353226" y="1579488"/>
            <a:ext cx="11484000" cy="47300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F8AFB4E7-F5CC-4CF9-9B92-4E8E76520864}"/>
              </a:ext>
            </a:extLst>
          </p:cNvPr>
          <p:cNvSpPr/>
          <p:nvPr/>
        </p:nvSpPr>
        <p:spPr>
          <a:xfrm>
            <a:off x="1122506" y="1737313"/>
            <a:ext cx="6633788" cy="432000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b="1" dirty="0">
                <a:solidFill>
                  <a:schemeClr val="bg1"/>
                </a:solidFill>
              </a:rPr>
              <a:t>Classe prédite par le modèle</a:t>
            </a:r>
            <a:endParaRPr lang="fr-FR" b="1" i="1" dirty="0">
              <a:solidFill>
                <a:schemeClr val="bg1"/>
              </a:solidFill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99AE9532-D31D-4805-9849-7255CE897E4B}"/>
              </a:ext>
            </a:extLst>
          </p:cNvPr>
          <p:cNvSpPr/>
          <p:nvPr/>
        </p:nvSpPr>
        <p:spPr>
          <a:xfrm>
            <a:off x="191502" y="2653705"/>
            <a:ext cx="432000" cy="3416559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36000" tIns="0" rIns="36000" bIns="0" rtlCol="0" anchor="ctr"/>
          <a:lstStyle/>
          <a:p>
            <a:pPr algn="ctr"/>
            <a:r>
              <a:rPr lang="fr-FR" sz="2000" b="1" dirty="0">
                <a:solidFill>
                  <a:schemeClr val="bg1"/>
                </a:solidFill>
              </a:rPr>
              <a:t>Classe réelle</a:t>
            </a:r>
            <a:endParaRPr lang="fr-FR" b="1" i="1" dirty="0">
              <a:solidFill>
                <a:schemeClr val="bg1"/>
              </a:solidFill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E018E8F6-F82A-471A-87EA-486D5E5A5CA6}"/>
              </a:ext>
            </a:extLst>
          </p:cNvPr>
          <p:cNvSpPr/>
          <p:nvPr/>
        </p:nvSpPr>
        <p:spPr>
          <a:xfrm>
            <a:off x="1122506" y="2653706"/>
            <a:ext cx="3202840" cy="164385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dirty="0">
                <a:solidFill>
                  <a:schemeClr val="bg1">
                    <a:lumMod val="75000"/>
                  </a:schemeClr>
                </a:solidFill>
              </a:rPr>
              <a:t>Vrais positifs (TP)</a:t>
            </a:r>
            <a:endParaRPr lang="fr-FR" i="1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097CB667-4F87-4587-817C-208210043F5B}"/>
              </a:ext>
            </a:extLst>
          </p:cNvPr>
          <p:cNvSpPr/>
          <p:nvPr/>
        </p:nvSpPr>
        <p:spPr>
          <a:xfrm>
            <a:off x="4524038" y="2653706"/>
            <a:ext cx="3202840" cy="16438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b="1" dirty="0">
                <a:solidFill>
                  <a:srgbClr val="2A0068"/>
                </a:solidFill>
              </a:rPr>
              <a:t>Faux négatifs (FN)</a:t>
            </a:r>
            <a:endParaRPr lang="fr-FR" b="1" i="1" dirty="0">
              <a:solidFill>
                <a:srgbClr val="2A0068"/>
              </a:solidFill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B4699CD4-710A-4196-A805-7C29A936F25C}"/>
              </a:ext>
            </a:extLst>
          </p:cNvPr>
          <p:cNvSpPr/>
          <p:nvPr/>
        </p:nvSpPr>
        <p:spPr>
          <a:xfrm>
            <a:off x="1137789" y="4426411"/>
            <a:ext cx="3202840" cy="16438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b="1" dirty="0">
                <a:solidFill>
                  <a:srgbClr val="2A0068"/>
                </a:solidFill>
              </a:rPr>
              <a:t>Faux positifs (FP)</a:t>
            </a:r>
            <a:endParaRPr lang="fr-FR" b="1" i="1" dirty="0">
              <a:solidFill>
                <a:srgbClr val="2A0068"/>
              </a:solidFill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F1B4148E-89C4-4E29-992F-37D47305B504}"/>
              </a:ext>
            </a:extLst>
          </p:cNvPr>
          <p:cNvSpPr/>
          <p:nvPr/>
        </p:nvSpPr>
        <p:spPr>
          <a:xfrm>
            <a:off x="4524038" y="4426411"/>
            <a:ext cx="3202840" cy="164385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dirty="0">
                <a:solidFill>
                  <a:schemeClr val="bg1">
                    <a:lumMod val="75000"/>
                  </a:schemeClr>
                </a:solidFill>
              </a:rPr>
              <a:t>Vrais négatifs (TN)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92BE85FA-B225-4CD3-A46C-4B9294D7FF27}"/>
              </a:ext>
            </a:extLst>
          </p:cNvPr>
          <p:cNvSpPr/>
          <p:nvPr/>
        </p:nvSpPr>
        <p:spPr>
          <a:xfrm>
            <a:off x="1122506" y="2248245"/>
            <a:ext cx="3202840" cy="3293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1400" b="1" i="1" dirty="0">
                <a:solidFill>
                  <a:srgbClr val="2A0068"/>
                </a:solidFill>
              </a:rPr>
              <a:t>Rembourse (0)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2F593959-FEC2-4296-8FF4-9BB9B640155C}"/>
              </a:ext>
            </a:extLst>
          </p:cNvPr>
          <p:cNvSpPr/>
          <p:nvPr/>
        </p:nvSpPr>
        <p:spPr>
          <a:xfrm>
            <a:off x="4524038" y="2251304"/>
            <a:ext cx="3202840" cy="3293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1400" b="1" i="1" dirty="0">
                <a:solidFill>
                  <a:srgbClr val="2A0068"/>
                </a:solidFill>
              </a:rPr>
              <a:t>Ne rembourse pas (1)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CBEE0481-8708-4995-9152-71F8874A83E9}"/>
              </a:ext>
            </a:extLst>
          </p:cNvPr>
          <p:cNvSpPr/>
          <p:nvPr/>
        </p:nvSpPr>
        <p:spPr>
          <a:xfrm>
            <a:off x="694576" y="2653706"/>
            <a:ext cx="360000" cy="16452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36000" tIns="0" rIns="36000" bIns="0" rtlCol="0" anchor="ctr"/>
          <a:lstStyle/>
          <a:p>
            <a:pPr algn="ctr"/>
            <a:r>
              <a:rPr lang="fr-FR" sz="1400" b="1" i="1" dirty="0">
                <a:solidFill>
                  <a:srgbClr val="2A0068"/>
                </a:solidFill>
              </a:rPr>
              <a:t>Rembourse (0)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59B60743-2640-4DD7-BF5D-2CFF789970BA}"/>
              </a:ext>
            </a:extLst>
          </p:cNvPr>
          <p:cNvSpPr/>
          <p:nvPr/>
        </p:nvSpPr>
        <p:spPr>
          <a:xfrm>
            <a:off x="694576" y="4426411"/>
            <a:ext cx="360000" cy="16452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36000" tIns="0" rIns="36000" bIns="0" rtlCol="0" anchor="ctr"/>
          <a:lstStyle/>
          <a:p>
            <a:pPr algn="ctr"/>
            <a:r>
              <a:rPr lang="fr-FR" sz="1400" b="1" i="1" dirty="0">
                <a:solidFill>
                  <a:srgbClr val="2A0068"/>
                </a:solidFill>
              </a:rPr>
              <a:t>Ne rembourse pas (1)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A5C79F80-49D5-4FAC-83A4-D7F7767AD00F}"/>
              </a:ext>
            </a:extLst>
          </p:cNvPr>
          <p:cNvSpPr/>
          <p:nvPr/>
        </p:nvSpPr>
        <p:spPr>
          <a:xfrm>
            <a:off x="4531030" y="3255762"/>
            <a:ext cx="3225264" cy="432000"/>
          </a:xfrm>
          <a:prstGeom prst="rect">
            <a:avLst/>
          </a:prstGeom>
          <a:noFill/>
          <a:ln w="28575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FAAFEBDA-7FDA-4E99-8EC1-324C57A95783}"/>
              </a:ext>
            </a:extLst>
          </p:cNvPr>
          <p:cNvSpPr/>
          <p:nvPr/>
        </p:nvSpPr>
        <p:spPr>
          <a:xfrm>
            <a:off x="1137789" y="5040184"/>
            <a:ext cx="3195844" cy="432000"/>
          </a:xfrm>
          <a:prstGeom prst="rect">
            <a:avLst/>
          </a:prstGeom>
          <a:noFill/>
          <a:ln w="28575">
            <a:solidFill>
              <a:srgbClr val="FF6565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3" name="Ellipse 62">
            <a:extLst>
              <a:ext uri="{FF2B5EF4-FFF2-40B4-BE49-F238E27FC236}">
                <a16:creationId xmlns:a16="http://schemas.microsoft.com/office/drawing/2014/main" id="{83516E55-FB46-463B-9A1C-94DF6E5C92E1}"/>
              </a:ext>
            </a:extLst>
          </p:cNvPr>
          <p:cNvSpPr/>
          <p:nvPr/>
        </p:nvSpPr>
        <p:spPr>
          <a:xfrm>
            <a:off x="4393271" y="3171558"/>
            <a:ext cx="324000" cy="324000"/>
          </a:xfrm>
          <a:prstGeom prst="ellipse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400" dirty="0"/>
              <a:t>1</a:t>
            </a:r>
          </a:p>
        </p:txBody>
      </p:sp>
      <p:sp>
        <p:nvSpPr>
          <p:cNvPr id="64" name="Ellipse 63">
            <a:extLst>
              <a:ext uri="{FF2B5EF4-FFF2-40B4-BE49-F238E27FC236}">
                <a16:creationId xmlns:a16="http://schemas.microsoft.com/office/drawing/2014/main" id="{CEA2B60C-605C-4C83-82A0-D6C35B8110D0}"/>
              </a:ext>
            </a:extLst>
          </p:cNvPr>
          <p:cNvSpPr/>
          <p:nvPr/>
        </p:nvSpPr>
        <p:spPr>
          <a:xfrm>
            <a:off x="975789" y="4945968"/>
            <a:ext cx="324000" cy="324000"/>
          </a:xfrm>
          <a:prstGeom prst="ellipse">
            <a:avLst/>
          </a:prstGeom>
          <a:solidFill>
            <a:srgbClr val="FF6565"/>
          </a:solidFill>
          <a:ln>
            <a:solidFill>
              <a:srgbClr val="FF656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400" dirty="0"/>
              <a:t>2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CF3CA187-87F1-48D9-91C7-92B558C435AA}"/>
              </a:ext>
            </a:extLst>
          </p:cNvPr>
          <p:cNvSpPr/>
          <p:nvPr/>
        </p:nvSpPr>
        <p:spPr>
          <a:xfrm>
            <a:off x="4518743" y="3677250"/>
            <a:ext cx="3225264" cy="632388"/>
          </a:xfrm>
          <a:prstGeom prst="rect">
            <a:avLst/>
          </a:prstGeom>
          <a:noFill/>
          <a:ln w="2857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>
                <a:solidFill>
                  <a:srgbClr val="C00000"/>
                </a:solidFill>
              </a:rPr>
              <a:t>On cherche avant tout à </a:t>
            </a:r>
            <a:r>
              <a:rPr lang="fr-FR" sz="1600" b="1" i="1" dirty="0">
                <a:solidFill>
                  <a:srgbClr val="C00000"/>
                </a:solidFill>
              </a:rPr>
              <a:t>détecter le nombre de faux négatifs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C62EE066-4116-4136-96CF-F8833EFC8F38}"/>
              </a:ext>
            </a:extLst>
          </p:cNvPr>
          <p:cNvSpPr/>
          <p:nvPr/>
        </p:nvSpPr>
        <p:spPr>
          <a:xfrm>
            <a:off x="1123146" y="5458900"/>
            <a:ext cx="3225264" cy="632388"/>
          </a:xfrm>
          <a:prstGeom prst="rect">
            <a:avLst/>
          </a:prstGeom>
          <a:noFill/>
          <a:ln w="2857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>
                <a:solidFill>
                  <a:srgbClr val="FF6565"/>
                </a:solidFill>
              </a:rPr>
              <a:t>Dans une moindre mesure, on veut </a:t>
            </a:r>
            <a:r>
              <a:rPr lang="fr-FR" sz="1600" b="1" i="1" dirty="0">
                <a:solidFill>
                  <a:srgbClr val="FF6565"/>
                </a:solidFill>
              </a:rPr>
              <a:t>limiter le nombre de faux positifs </a:t>
            </a: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2D7C713A-B7BF-424A-9979-DAE5864B4CD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117798" y="2539999"/>
            <a:ext cx="2857500" cy="409575"/>
          </a:xfrm>
          <a:prstGeom prst="rect">
            <a:avLst/>
          </a:prstGeom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339E967B-3316-4B49-8CB1-9712DD51305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105272" y="4160823"/>
            <a:ext cx="2876550" cy="409575"/>
          </a:xfrm>
          <a:prstGeom prst="rect">
            <a:avLst/>
          </a:prstGeom>
        </p:spPr>
      </p:pic>
      <p:sp>
        <p:nvSpPr>
          <p:cNvPr id="69" name="Rectangle 68">
            <a:extLst>
              <a:ext uri="{FF2B5EF4-FFF2-40B4-BE49-F238E27FC236}">
                <a16:creationId xmlns:a16="http://schemas.microsoft.com/office/drawing/2014/main" id="{39F0F878-EBB3-4B70-9923-E4CFCEB157A6}"/>
              </a:ext>
            </a:extLst>
          </p:cNvPr>
          <p:cNvSpPr/>
          <p:nvPr/>
        </p:nvSpPr>
        <p:spPr>
          <a:xfrm>
            <a:off x="8086049" y="1737313"/>
            <a:ext cx="3446487" cy="432000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b="1" dirty="0">
                <a:solidFill>
                  <a:schemeClr val="bg1"/>
                </a:solidFill>
              </a:rPr>
              <a:t>Les métriques possibles</a:t>
            </a:r>
            <a:endParaRPr lang="fr-FR" b="1" i="1" dirty="0">
              <a:solidFill>
                <a:schemeClr val="bg1"/>
              </a:solidFill>
            </a:endParaRPr>
          </a:p>
        </p:txBody>
      </p:sp>
      <p:cxnSp>
        <p:nvCxnSpPr>
          <p:cNvPr id="13" name="Connecteur droit 12">
            <a:extLst>
              <a:ext uri="{FF2B5EF4-FFF2-40B4-BE49-F238E27FC236}">
                <a16:creationId xmlns:a16="http://schemas.microsoft.com/office/drawing/2014/main" id="{96FCABC6-5D2C-4AB7-9152-5557A20CD8CA}"/>
              </a:ext>
            </a:extLst>
          </p:cNvPr>
          <p:cNvCxnSpPr/>
          <p:nvPr/>
        </p:nvCxnSpPr>
        <p:spPr>
          <a:xfrm>
            <a:off x="7887710" y="1529315"/>
            <a:ext cx="0" cy="4896000"/>
          </a:xfrm>
          <a:prstGeom prst="line">
            <a:avLst/>
          </a:prstGeom>
          <a:ln>
            <a:solidFill>
              <a:srgbClr val="2A00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Connecteur droit 75">
            <a:extLst>
              <a:ext uri="{FF2B5EF4-FFF2-40B4-BE49-F238E27FC236}">
                <a16:creationId xmlns:a16="http://schemas.microsoft.com/office/drawing/2014/main" id="{94340771-B06C-4ED2-BBCF-60C66A951FF3}"/>
              </a:ext>
            </a:extLst>
          </p:cNvPr>
          <p:cNvCxnSpPr/>
          <p:nvPr/>
        </p:nvCxnSpPr>
        <p:spPr>
          <a:xfrm>
            <a:off x="7937027" y="1529315"/>
            <a:ext cx="0" cy="4896000"/>
          </a:xfrm>
          <a:prstGeom prst="line">
            <a:avLst/>
          </a:prstGeom>
          <a:ln>
            <a:solidFill>
              <a:srgbClr val="2A00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Rectangle 76">
            <a:extLst>
              <a:ext uri="{FF2B5EF4-FFF2-40B4-BE49-F238E27FC236}">
                <a16:creationId xmlns:a16="http://schemas.microsoft.com/office/drawing/2014/main" id="{32142773-F471-419D-9EAB-D57BB1884CBA}"/>
              </a:ext>
            </a:extLst>
          </p:cNvPr>
          <p:cNvSpPr/>
          <p:nvPr/>
        </p:nvSpPr>
        <p:spPr>
          <a:xfrm>
            <a:off x="8086049" y="2262780"/>
            <a:ext cx="2232324" cy="2687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b="1" i="1" dirty="0">
                <a:solidFill>
                  <a:srgbClr val="2A0068"/>
                </a:solidFill>
              </a:rPr>
              <a:t>Sensitivity/recall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7E95AF6D-3B85-4C41-AA1A-9B7D6B1C1B68}"/>
              </a:ext>
            </a:extLst>
          </p:cNvPr>
          <p:cNvSpPr/>
          <p:nvPr/>
        </p:nvSpPr>
        <p:spPr>
          <a:xfrm>
            <a:off x="8087182" y="3876390"/>
            <a:ext cx="2232324" cy="2687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en-US" b="1" i="1" dirty="0">
                <a:solidFill>
                  <a:srgbClr val="2A0068"/>
                </a:solidFill>
              </a:rPr>
              <a:t>Specificity</a:t>
            </a:r>
            <a:endParaRPr lang="fr-FR" b="1" i="1" dirty="0">
              <a:solidFill>
                <a:srgbClr val="2A0068"/>
              </a:solidFill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83DBC589-B20E-482D-AD12-DF16E51E23E6}"/>
              </a:ext>
            </a:extLst>
          </p:cNvPr>
          <p:cNvSpPr/>
          <p:nvPr/>
        </p:nvSpPr>
        <p:spPr>
          <a:xfrm>
            <a:off x="8116665" y="3065114"/>
            <a:ext cx="2232324" cy="2687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b="1" i="1" dirty="0">
                <a:solidFill>
                  <a:srgbClr val="2A0068"/>
                </a:solidFill>
              </a:rPr>
              <a:t>Precision</a:t>
            </a: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1D46CDFB-CEF2-400C-8926-CB3F1CB42F5C}"/>
              </a:ext>
            </a:extLst>
          </p:cNvPr>
          <p:cNvSpPr/>
          <p:nvPr/>
        </p:nvSpPr>
        <p:spPr>
          <a:xfrm>
            <a:off x="8117798" y="4642137"/>
            <a:ext cx="2772000" cy="2687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en-US" b="1" i="1" dirty="0">
                <a:solidFill>
                  <a:srgbClr val="2A0068"/>
                </a:solidFill>
              </a:rPr>
              <a:t>Negative predictive value</a:t>
            </a:r>
            <a:endParaRPr lang="fr-FR" b="1" i="1" dirty="0">
              <a:solidFill>
                <a:srgbClr val="2A0068"/>
              </a:solidFill>
            </a:endParaRPr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31197350-B8FF-493A-9E2E-5673ACBE3BE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130324" y="3341289"/>
            <a:ext cx="2295525" cy="409575"/>
          </a:xfrm>
          <a:prstGeom prst="rect">
            <a:avLst/>
          </a:prstGeom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948FC1F6-5C7F-4B08-84AF-629EDF099791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130324" y="4920011"/>
            <a:ext cx="2333625" cy="409575"/>
          </a:xfrm>
          <a:prstGeom prst="rect">
            <a:avLst/>
          </a:prstGeom>
        </p:spPr>
      </p:pic>
      <p:sp>
        <p:nvSpPr>
          <p:cNvPr id="89" name="Rectangle 88">
            <a:extLst>
              <a:ext uri="{FF2B5EF4-FFF2-40B4-BE49-F238E27FC236}">
                <a16:creationId xmlns:a16="http://schemas.microsoft.com/office/drawing/2014/main" id="{8786B184-53FE-45BC-830A-E81A83AEACC7}"/>
              </a:ext>
            </a:extLst>
          </p:cNvPr>
          <p:cNvSpPr/>
          <p:nvPr/>
        </p:nvSpPr>
        <p:spPr>
          <a:xfrm>
            <a:off x="8092829" y="5451647"/>
            <a:ext cx="2232324" cy="2687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en-US" b="1" i="1" dirty="0">
                <a:solidFill>
                  <a:srgbClr val="2A0068"/>
                </a:solidFill>
              </a:rPr>
              <a:t>Accuracy</a:t>
            </a:r>
            <a:endParaRPr lang="fr-FR" b="1" i="1" dirty="0">
              <a:solidFill>
                <a:srgbClr val="2A0068"/>
              </a:solidFill>
            </a:endParaRPr>
          </a:p>
        </p:txBody>
      </p:sp>
      <p:pic>
        <p:nvPicPr>
          <p:cNvPr id="18" name="Image 17">
            <a:extLst>
              <a:ext uri="{FF2B5EF4-FFF2-40B4-BE49-F238E27FC236}">
                <a16:creationId xmlns:a16="http://schemas.microsoft.com/office/drawing/2014/main" id="{04F3DCD7-E5F1-4B68-9BC9-6122BA4CE97E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094350" y="5734336"/>
            <a:ext cx="3352800" cy="409575"/>
          </a:xfrm>
          <a:prstGeom prst="rect">
            <a:avLst/>
          </a:prstGeom>
        </p:spPr>
      </p:pic>
      <p:sp>
        <p:nvSpPr>
          <p:cNvPr id="94" name="Rectangle 93">
            <a:extLst>
              <a:ext uri="{FF2B5EF4-FFF2-40B4-BE49-F238E27FC236}">
                <a16:creationId xmlns:a16="http://schemas.microsoft.com/office/drawing/2014/main" id="{49A85C37-C799-46DB-A4A7-C8BEEEF4D9B4}"/>
              </a:ext>
            </a:extLst>
          </p:cNvPr>
          <p:cNvSpPr/>
          <p:nvPr/>
        </p:nvSpPr>
        <p:spPr>
          <a:xfrm>
            <a:off x="8077070" y="3847790"/>
            <a:ext cx="3751675" cy="840898"/>
          </a:xfrm>
          <a:prstGeom prst="rect">
            <a:avLst/>
          </a:prstGeom>
          <a:solidFill>
            <a:schemeClr val="bg1">
              <a:lumMod val="95000"/>
              <a:alpha val="80000"/>
            </a:schemeClr>
          </a:solidFill>
          <a:ln w="2857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34577655-B237-498C-A280-A2AFA24F7DDC}"/>
              </a:ext>
            </a:extLst>
          </p:cNvPr>
          <p:cNvSpPr/>
          <p:nvPr/>
        </p:nvSpPr>
        <p:spPr>
          <a:xfrm>
            <a:off x="8069468" y="4688688"/>
            <a:ext cx="3738589" cy="1504651"/>
          </a:xfrm>
          <a:prstGeom prst="rect">
            <a:avLst/>
          </a:prstGeom>
          <a:solidFill>
            <a:schemeClr val="bg1">
              <a:lumMod val="95000"/>
              <a:alpha val="80000"/>
            </a:schemeClr>
          </a:solidFill>
          <a:ln w="2857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BFDE24CB-A056-4F7E-84DF-493675B7B4D2}"/>
              </a:ext>
            </a:extLst>
          </p:cNvPr>
          <p:cNvSpPr/>
          <p:nvPr/>
        </p:nvSpPr>
        <p:spPr>
          <a:xfrm>
            <a:off x="8069468" y="2197847"/>
            <a:ext cx="3738589" cy="1677037"/>
          </a:xfrm>
          <a:prstGeom prst="rect">
            <a:avLst/>
          </a:prstGeom>
          <a:noFill/>
          <a:ln w="57150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C8F8635F-6135-4131-AD3C-79CDFBF001C9}"/>
              </a:ext>
            </a:extLst>
          </p:cNvPr>
          <p:cNvSpPr/>
          <p:nvPr/>
        </p:nvSpPr>
        <p:spPr>
          <a:xfrm>
            <a:off x="11071435" y="2382617"/>
            <a:ext cx="1044000" cy="1296000"/>
          </a:xfrm>
          <a:prstGeom prst="rect">
            <a:avLst/>
          </a:prstGeom>
          <a:solidFill>
            <a:srgbClr val="C00000"/>
          </a:solidFill>
          <a:ln w="2857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>
                <a:solidFill>
                  <a:schemeClr val="bg1"/>
                </a:solidFill>
              </a:rPr>
              <a:t>Equilibre à trouver entre ces 2 métriques</a:t>
            </a:r>
            <a:endParaRPr lang="fr-FR" sz="1600" b="1" i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832321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43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>
            <a:extLst>
              <a:ext uri="{FF2B5EF4-FFF2-40B4-BE49-F238E27FC236}">
                <a16:creationId xmlns:a16="http://schemas.microsoft.com/office/drawing/2014/main" id="{86A52CCD-9959-43E4-90E1-14C68071D2EF}"/>
              </a:ext>
            </a:extLst>
          </p:cNvPr>
          <p:cNvSpPr>
            <a:spLocks/>
          </p:cNvSpPr>
          <p:nvPr/>
        </p:nvSpPr>
        <p:spPr>
          <a:xfrm>
            <a:off x="-1546" y="0"/>
            <a:ext cx="12193545" cy="544108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sp>
        <p:nvSpPr>
          <p:cNvPr id="70" name="Oval 21">
            <a:extLst>
              <a:ext uri="{FF2B5EF4-FFF2-40B4-BE49-F238E27FC236}">
                <a16:creationId xmlns:a16="http://schemas.microsoft.com/office/drawing/2014/main" id="{21E00B41-C90D-4BDF-A077-C8F7B556C7BC}"/>
              </a:ext>
            </a:extLst>
          </p:cNvPr>
          <p:cNvSpPr>
            <a:spLocks/>
          </p:cNvSpPr>
          <p:nvPr/>
        </p:nvSpPr>
        <p:spPr>
          <a:xfrm>
            <a:off x="4891314" y="-223688"/>
            <a:ext cx="2409372" cy="1008000"/>
          </a:xfrm>
          <a:prstGeom prst="ellipse">
            <a:avLst/>
          </a:prstGeom>
          <a:solidFill>
            <a:srgbClr val="D7D8D7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solidFill>
                <a:srgbClr val="2A0068"/>
              </a:solidFill>
              <a:uFillTx/>
              <a:latin typeface="Baloo" panose="03080902040302020200" pitchFamily="66" charset="0"/>
              <a:cs typeface="Baloo" panose="03080902040302020200" pitchFamily="66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F990D0F-3A28-4858-B939-D0DB6600268A}"/>
              </a:ext>
            </a:extLst>
          </p:cNvPr>
          <p:cNvSpPr>
            <a:spLocks/>
          </p:cNvSpPr>
          <p:nvPr/>
        </p:nvSpPr>
        <p:spPr>
          <a:xfrm>
            <a:off x="4530058" y="-249582"/>
            <a:ext cx="3131884" cy="783727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cxnSp>
        <p:nvCxnSpPr>
          <p:cNvPr id="74" name="Straight Connector 36">
            <a:extLst>
              <a:ext uri="{FF2B5EF4-FFF2-40B4-BE49-F238E27FC236}">
                <a16:creationId xmlns:a16="http://schemas.microsoft.com/office/drawing/2014/main" id="{6AC8BA9A-5A95-442A-86B2-D6471C273567}"/>
              </a:ext>
            </a:extLst>
          </p:cNvPr>
          <p:cNvCxnSpPr/>
          <p:nvPr/>
        </p:nvCxnSpPr>
        <p:spPr>
          <a:xfrm>
            <a:off x="4696733" y="190333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36">
            <a:extLst>
              <a:ext uri="{FF2B5EF4-FFF2-40B4-BE49-F238E27FC236}">
                <a16:creationId xmlns:a16="http://schemas.microsoft.com/office/drawing/2014/main" id="{3F5750F7-3C85-48DA-BD57-0EB1C694D16F}"/>
              </a:ext>
            </a:extLst>
          </p:cNvPr>
          <p:cNvCxnSpPr/>
          <p:nvPr/>
        </p:nvCxnSpPr>
        <p:spPr>
          <a:xfrm>
            <a:off x="2028856" y="19759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26">
            <a:extLst>
              <a:ext uri="{FF2B5EF4-FFF2-40B4-BE49-F238E27FC236}">
                <a16:creationId xmlns:a16="http://schemas.microsoft.com/office/drawing/2014/main" id="{39F69F4E-3B4A-41B5-8C1D-64E9A4BC90EE}"/>
              </a:ext>
            </a:extLst>
          </p:cNvPr>
          <p:cNvSpPr txBox="1">
            <a:spLocks/>
          </p:cNvSpPr>
          <p:nvPr/>
        </p:nvSpPr>
        <p:spPr>
          <a:xfrm>
            <a:off x="7287" y="142281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TEXTE</a:t>
            </a:r>
          </a:p>
        </p:txBody>
      </p:sp>
      <p:sp>
        <p:nvSpPr>
          <p:cNvPr id="81" name="TextBox 26">
            <a:extLst>
              <a:ext uri="{FF2B5EF4-FFF2-40B4-BE49-F238E27FC236}">
                <a16:creationId xmlns:a16="http://schemas.microsoft.com/office/drawing/2014/main" id="{57D0B7C0-DC57-431F-8DD5-2F8B24747D09}"/>
              </a:ext>
            </a:extLst>
          </p:cNvPr>
          <p:cNvSpPr txBox="1">
            <a:spLocks/>
          </p:cNvSpPr>
          <p:nvPr/>
        </p:nvSpPr>
        <p:spPr>
          <a:xfrm>
            <a:off x="2059287" y="146805"/>
            <a:ext cx="2891751" cy="3059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rgbClr val="2A0068"/>
                </a:solidFill>
                <a:latin typeface="Trebuchet MS" panose="020B0603020202020204" pitchFamily="34" charset="0"/>
              </a:rPr>
              <a:t>MODÉLISATION</a:t>
            </a:r>
          </a:p>
        </p:txBody>
      </p:sp>
      <p:sp>
        <p:nvSpPr>
          <p:cNvPr id="84" name="TextBox 26">
            <a:extLst>
              <a:ext uri="{FF2B5EF4-FFF2-40B4-BE49-F238E27FC236}">
                <a16:creationId xmlns:a16="http://schemas.microsoft.com/office/drawing/2014/main" id="{1E58C3BE-332E-4F11-B42C-F57336CE0B8D}"/>
              </a:ext>
            </a:extLst>
          </p:cNvPr>
          <p:cNvSpPr txBox="1">
            <a:spLocks/>
          </p:cNvSpPr>
          <p:nvPr/>
        </p:nvSpPr>
        <p:spPr>
          <a:xfrm>
            <a:off x="7424298" y="146062"/>
            <a:ext cx="2664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DASHBOARD</a:t>
            </a:r>
          </a:p>
        </p:txBody>
      </p:sp>
      <p:cxnSp>
        <p:nvCxnSpPr>
          <p:cNvPr id="85" name="Straight Connector 36">
            <a:extLst>
              <a:ext uri="{FF2B5EF4-FFF2-40B4-BE49-F238E27FC236}">
                <a16:creationId xmlns:a16="http://schemas.microsoft.com/office/drawing/2014/main" id="{411CB50C-1596-4CB9-9B0E-267D9C2F34B7}"/>
              </a:ext>
            </a:extLst>
          </p:cNvPr>
          <p:cNvCxnSpPr/>
          <p:nvPr/>
        </p:nvCxnSpPr>
        <p:spPr>
          <a:xfrm>
            <a:off x="7536962" y="199069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Box 26">
            <a:extLst>
              <a:ext uri="{FF2B5EF4-FFF2-40B4-BE49-F238E27FC236}">
                <a16:creationId xmlns:a16="http://schemas.microsoft.com/office/drawing/2014/main" id="{8E08889D-90B1-4A70-870B-25FADA1C2B74}"/>
              </a:ext>
            </a:extLst>
          </p:cNvPr>
          <p:cNvSpPr txBox="1">
            <a:spLocks/>
          </p:cNvSpPr>
          <p:nvPr/>
        </p:nvSpPr>
        <p:spPr>
          <a:xfrm>
            <a:off x="10103603" y="144968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CLUSION / Q&amp;A</a:t>
            </a:r>
          </a:p>
        </p:txBody>
      </p:sp>
      <p:cxnSp>
        <p:nvCxnSpPr>
          <p:cNvPr id="87" name="Straight Connector 36">
            <a:extLst>
              <a:ext uri="{FF2B5EF4-FFF2-40B4-BE49-F238E27FC236}">
                <a16:creationId xmlns:a16="http://schemas.microsoft.com/office/drawing/2014/main" id="{31239E27-F713-401B-8124-334323060D0F}"/>
              </a:ext>
            </a:extLst>
          </p:cNvPr>
          <p:cNvCxnSpPr/>
          <p:nvPr/>
        </p:nvCxnSpPr>
        <p:spPr>
          <a:xfrm>
            <a:off x="10081246" y="19745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12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3" name="Image 2">
            <a:extLst>
              <a:ext uri="{FF2B5EF4-FFF2-40B4-BE49-F238E27FC236}">
                <a16:creationId xmlns:a16="http://schemas.microsoft.com/office/drawing/2014/main" id="{7A389926-05FB-4C34-A31D-E1334EF99F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8447" y="0"/>
            <a:ext cx="2524125" cy="495300"/>
          </a:xfrm>
          <a:prstGeom prst="rect">
            <a:avLst/>
          </a:prstGeom>
        </p:spPr>
      </p:pic>
      <p:cxnSp>
        <p:nvCxnSpPr>
          <p:cNvPr id="72" name="Straight Connector 23">
            <a:extLst>
              <a:ext uri="{FF2B5EF4-FFF2-40B4-BE49-F238E27FC236}">
                <a16:creationId xmlns:a16="http://schemas.microsoft.com/office/drawing/2014/main" id="{458739B1-4232-4A83-872D-8C59735FB7B8}"/>
              </a:ext>
            </a:extLst>
          </p:cNvPr>
          <p:cNvCxnSpPr>
            <a:cxnSpLocks/>
          </p:cNvCxnSpPr>
          <p:nvPr/>
        </p:nvCxnSpPr>
        <p:spPr>
          <a:xfrm flipV="1">
            <a:off x="7103948" y="540993"/>
            <a:ext cx="5118532" cy="11708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22">
            <a:extLst>
              <a:ext uri="{FF2B5EF4-FFF2-40B4-BE49-F238E27FC236}">
                <a16:creationId xmlns:a16="http://schemas.microsoft.com/office/drawing/2014/main" id="{3E677F3D-C08E-49B3-BFF4-7E1553EE5144}"/>
              </a:ext>
            </a:extLst>
          </p:cNvPr>
          <p:cNvCxnSpPr>
            <a:cxnSpLocks/>
          </p:cNvCxnSpPr>
          <p:nvPr/>
        </p:nvCxnSpPr>
        <p:spPr>
          <a:xfrm>
            <a:off x="-21590" y="548496"/>
            <a:ext cx="5117779" cy="14365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B3E40F35-6F18-4795-94D0-0D751C6B0722}"/>
              </a:ext>
            </a:extLst>
          </p:cNvPr>
          <p:cNvSpPr/>
          <p:nvPr/>
        </p:nvSpPr>
        <p:spPr>
          <a:xfrm>
            <a:off x="353226" y="892388"/>
            <a:ext cx="11484000" cy="52322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800" b="1" dirty="0">
                <a:solidFill>
                  <a:srgbClr val="2A0068"/>
                </a:solidFill>
              </a:rPr>
              <a:t>Méthodologie de modélisation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5F6CA13-0500-4EA2-AFB2-194FE2DBE1CB}"/>
              </a:ext>
            </a:extLst>
          </p:cNvPr>
          <p:cNvSpPr/>
          <p:nvPr/>
        </p:nvSpPr>
        <p:spPr>
          <a:xfrm>
            <a:off x="353226" y="1579488"/>
            <a:ext cx="11484000" cy="47300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6" name="Rectangle : coins arrondis 65">
            <a:extLst>
              <a:ext uri="{FF2B5EF4-FFF2-40B4-BE49-F238E27FC236}">
                <a16:creationId xmlns:a16="http://schemas.microsoft.com/office/drawing/2014/main" id="{53B95B14-FE81-4C93-A983-7567F9FC4647}"/>
              </a:ext>
            </a:extLst>
          </p:cNvPr>
          <p:cNvSpPr/>
          <p:nvPr/>
        </p:nvSpPr>
        <p:spPr>
          <a:xfrm>
            <a:off x="817391" y="1692436"/>
            <a:ext cx="2654459" cy="1426398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Entrainement sur training réduit </a:t>
            </a:r>
            <a:r>
              <a:rPr lang="fr-FR" dirty="0">
                <a:solidFill>
                  <a:schemeClr val="bg1">
                    <a:lumMod val="85000"/>
                  </a:schemeClr>
                </a:solidFill>
              </a:rPr>
              <a:t>avec cross validation et optimisation des hyperparamètres</a:t>
            </a:r>
          </a:p>
        </p:txBody>
      </p:sp>
      <p:sp>
        <p:nvSpPr>
          <p:cNvPr id="67" name="Rectangle : coins arrondis 66">
            <a:extLst>
              <a:ext uri="{FF2B5EF4-FFF2-40B4-BE49-F238E27FC236}">
                <a16:creationId xmlns:a16="http://schemas.microsoft.com/office/drawing/2014/main" id="{F5551D15-880B-4177-BEAA-040FB07176A7}"/>
              </a:ext>
            </a:extLst>
          </p:cNvPr>
          <p:cNvSpPr/>
          <p:nvPr/>
        </p:nvSpPr>
        <p:spPr>
          <a:xfrm>
            <a:off x="3601732" y="1675304"/>
            <a:ext cx="2654459" cy="142639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b="1" dirty="0">
                <a:solidFill>
                  <a:srgbClr val="2A0068"/>
                </a:solidFill>
              </a:rPr>
              <a:t>Entrainement sur training avec cross validation </a:t>
            </a:r>
            <a:r>
              <a:rPr lang="fr-FR" dirty="0">
                <a:solidFill>
                  <a:srgbClr val="2A0068"/>
                </a:solidFill>
              </a:rPr>
              <a:t>et </a:t>
            </a:r>
            <a:r>
              <a:rPr lang="fr-FR" b="1" dirty="0">
                <a:solidFill>
                  <a:srgbClr val="2A0068"/>
                </a:solidFill>
              </a:rPr>
              <a:t>optimisation des hyperparamètres</a:t>
            </a:r>
          </a:p>
        </p:txBody>
      </p:sp>
      <p:sp>
        <p:nvSpPr>
          <p:cNvPr id="80" name="Rectangle : coins arrondis 79">
            <a:extLst>
              <a:ext uri="{FF2B5EF4-FFF2-40B4-BE49-F238E27FC236}">
                <a16:creationId xmlns:a16="http://schemas.microsoft.com/office/drawing/2014/main" id="{9342A335-A5CA-4212-AA6E-1461C200C5D2}"/>
              </a:ext>
            </a:extLst>
          </p:cNvPr>
          <p:cNvSpPr/>
          <p:nvPr/>
        </p:nvSpPr>
        <p:spPr>
          <a:xfrm>
            <a:off x="6386073" y="1675304"/>
            <a:ext cx="2654459" cy="142639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dirty="0">
                <a:solidFill>
                  <a:srgbClr val="2A0068"/>
                </a:solidFill>
              </a:rPr>
              <a:t>Choix du </a:t>
            </a:r>
            <a:r>
              <a:rPr lang="fr-FR" b="1" dirty="0">
                <a:solidFill>
                  <a:srgbClr val="2A0068"/>
                </a:solidFill>
              </a:rPr>
              <a:t>meilleur modèle meilleur F Beta obtenu en cross validation</a:t>
            </a:r>
          </a:p>
        </p:txBody>
      </p:sp>
      <p:sp>
        <p:nvSpPr>
          <p:cNvPr id="82" name="Rectangle : coins arrondis 81">
            <a:extLst>
              <a:ext uri="{FF2B5EF4-FFF2-40B4-BE49-F238E27FC236}">
                <a16:creationId xmlns:a16="http://schemas.microsoft.com/office/drawing/2014/main" id="{0E61303A-EA8B-4DD7-8D59-C8C143253271}"/>
              </a:ext>
            </a:extLst>
          </p:cNvPr>
          <p:cNvSpPr/>
          <p:nvPr/>
        </p:nvSpPr>
        <p:spPr>
          <a:xfrm>
            <a:off x="9170414" y="1675304"/>
            <a:ext cx="2654459" cy="142639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dirty="0">
                <a:solidFill>
                  <a:srgbClr val="2A0068"/>
                </a:solidFill>
              </a:rPr>
              <a:t>Entrainement du modèle choisi sur jeu training et jeu de test</a:t>
            </a:r>
          </a:p>
        </p:txBody>
      </p:sp>
      <p:sp>
        <p:nvSpPr>
          <p:cNvPr id="104" name="Rectangle : coins arrondis 103">
            <a:extLst>
              <a:ext uri="{FF2B5EF4-FFF2-40B4-BE49-F238E27FC236}">
                <a16:creationId xmlns:a16="http://schemas.microsoft.com/office/drawing/2014/main" id="{EAB334AA-3778-425D-9743-1DC908CCD7C3}"/>
              </a:ext>
            </a:extLst>
          </p:cNvPr>
          <p:cNvSpPr/>
          <p:nvPr/>
        </p:nvSpPr>
        <p:spPr>
          <a:xfrm>
            <a:off x="817391" y="3234332"/>
            <a:ext cx="2654459" cy="1426398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dirty="0">
                <a:solidFill>
                  <a:schemeClr val="bg1">
                    <a:lumMod val="85000"/>
                  </a:schemeClr>
                </a:solidFill>
              </a:rPr>
              <a:t>Sélectionner l’approche pour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solutionner la problématique </a:t>
            </a:r>
            <a:r>
              <a:rPr lang="fr-FR" dirty="0">
                <a:solidFill>
                  <a:schemeClr val="bg1">
                    <a:lumMod val="85000"/>
                  </a:schemeClr>
                </a:solidFill>
              </a:rPr>
              <a:t>du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déséquilibre entre les classes</a:t>
            </a:r>
          </a:p>
        </p:txBody>
      </p:sp>
      <p:sp>
        <p:nvSpPr>
          <p:cNvPr id="105" name="Rectangle : coins arrondis 104">
            <a:extLst>
              <a:ext uri="{FF2B5EF4-FFF2-40B4-BE49-F238E27FC236}">
                <a16:creationId xmlns:a16="http://schemas.microsoft.com/office/drawing/2014/main" id="{FBD90510-1D9C-4637-8FB1-FB6BA6F02203}"/>
              </a:ext>
            </a:extLst>
          </p:cNvPr>
          <p:cNvSpPr/>
          <p:nvPr/>
        </p:nvSpPr>
        <p:spPr>
          <a:xfrm>
            <a:off x="3601732" y="3217198"/>
            <a:ext cx="2654459" cy="142639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b="1" dirty="0">
                <a:solidFill>
                  <a:srgbClr val="2A0068"/>
                </a:solidFill>
              </a:rPr>
              <a:t>Optimisation hyperparamètres pour chaque modèle</a:t>
            </a:r>
          </a:p>
        </p:txBody>
      </p:sp>
      <p:sp>
        <p:nvSpPr>
          <p:cNvPr id="106" name="Rectangle : coins arrondis 105">
            <a:extLst>
              <a:ext uri="{FF2B5EF4-FFF2-40B4-BE49-F238E27FC236}">
                <a16:creationId xmlns:a16="http://schemas.microsoft.com/office/drawing/2014/main" id="{660E812D-3940-4C34-89C9-B91A435FF2C5}"/>
              </a:ext>
            </a:extLst>
          </p:cNvPr>
          <p:cNvSpPr/>
          <p:nvPr/>
        </p:nvSpPr>
        <p:spPr>
          <a:xfrm>
            <a:off x="6386073" y="3217199"/>
            <a:ext cx="2654459" cy="142639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b="1" dirty="0">
                <a:solidFill>
                  <a:srgbClr val="2A0068"/>
                </a:solidFill>
              </a:rPr>
              <a:t>Améliorer au maximum les performances du modèle de ML</a:t>
            </a:r>
          </a:p>
        </p:txBody>
      </p:sp>
      <p:sp>
        <p:nvSpPr>
          <p:cNvPr id="107" name="Rectangle : coins arrondis 106">
            <a:extLst>
              <a:ext uri="{FF2B5EF4-FFF2-40B4-BE49-F238E27FC236}">
                <a16:creationId xmlns:a16="http://schemas.microsoft.com/office/drawing/2014/main" id="{C8FBB3E1-6FC7-4078-A62D-208F4560CE8D}"/>
              </a:ext>
            </a:extLst>
          </p:cNvPr>
          <p:cNvSpPr/>
          <p:nvPr/>
        </p:nvSpPr>
        <p:spPr>
          <a:xfrm>
            <a:off x="9170414" y="3217199"/>
            <a:ext cx="2654459" cy="142639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dirty="0">
                <a:solidFill>
                  <a:srgbClr val="2A0068"/>
                </a:solidFill>
              </a:rPr>
              <a:t>Bilan des performances de notre meilleur modèle pour notre problème de classification</a:t>
            </a:r>
          </a:p>
        </p:txBody>
      </p:sp>
      <p:sp>
        <p:nvSpPr>
          <p:cNvPr id="108" name="Rectangle : coins arrondis 107">
            <a:extLst>
              <a:ext uri="{FF2B5EF4-FFF2-40B4-BE49-F238E27FC236}">
                <a16:creationId xmlns:a16="http://schemas.microsoft.com/office/drawing/2014/main" id="{91FFB5F0-9642-4731-8C9B-E78DC8245269}"/>
              </a:ext>
            </a:extLst>
          </p:cNvPr>
          <p:cNvSpPr/>
          <p:nvPr/>
        </p:nvSpPr>
        <p:spPr>
          <a:xfrm>
            <a:off x="817391" y="4833677"/>
            <a:ext cx="2654459" cy="1426398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b="1" i="1" dirty="0">
                <a:solidFill>
                  <a:schemeClr val="bg1">
                    <a:lumMod val="85000"/>
                  </a:schemeClr>
                </a:solidFill>
              </a:rPr>
              <a:t>Pondération des observations </a:t>
            </a:r>
            <a:r>
              <a:rPr lang="fr-FR" i="1" dirty="0">
                <a:solidFill>
                  <a:schemeClr val="bg1">
                    <a:lumMod val="85000"/>
                  </a:schemeClr>
                </a:solidFill>
              </a:rPr>
              <a:t>dans le train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i="1" dirty="0">
                <a:solidFill>
                  <a:schemeClr val="bg1">
                    <a:lumMod val="85000"/>
                  </a:schemeClr>
                </a:solidFill>
              </a:rPr>
              <a:t>Choix d’une </a:t>
            </a:r>
            <a:r>
              <a:rPr lang="fr-FR" b="1" i="1" dirty="0">
                <a:solidFill>
                  <a:schemeClr val="bg1">
                    <a:lumMod val="85000"/>
                  </a:schemeClr>
                </a:solidFill>
              </a:rPr>
              <a:t>métrique de perf. adaptée</a:t>
            </a:r>
          </a:p>
        </p:txBody>
      </p:sp>
      <p:sp>
        <p:nvSpPr>
          <p:cNvPr id="109" name="Rectangle : coins arrondis 108">
            <a:extLst>
              <a:ext uri="{FF2B5EF4-FFF2-40B4-BE49-F238E27FC236}">
                <a16:creationId xmlns:a16="http://schemas.microsoft.com/office/drawing/2014/main" id="{7728649F-C4C7-4991-86E0-03849BF16218}"/>
              </a:ext>
            </a:extLst>
          </p:cNvPr>
          <p:cNvSpPr/>
          <p:nvPr/>
        </p:nvSpPr>
        <p:spPr>
          <a:xfrm>
            <a:off x="3601732" y="4816544"/>
            <a:ext cx="2654459" cy="142639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b="1" i="1" dirty="0">
                <a:solidFill>
                  <a:srgbClr val="2A0068"/>
                </a:solidFill>
              </a:rPr>
              <a:t>Choix des meilleurs hyperparamètr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i="1" dirty="0">
                <a:solidFill>
                  <a:srgbClr val="2A0068"/>
                </a:solidFill>
              </a:rPr>
              <a:t>Choix de la métrique, </a:t>
            </a:r>
            <a:r>
              <a:rPr lang="fr-FR" b="1" i="1" dirty="0">
                <a:solidFill>
                  <a:srgbClr val="2A0068"/>
                </a:solidFill>
              </a:rPr>
              <a:t>F Beta </a:t>
            </a:r>
            <a:r>
              <a:rPr lang="fr-FR" i="1" dirty="0">
                <a:solidFill>
                  <a:srgbClr val="2A0068"/>
                </a:solidFill>
              </a:rPr>
              <a:t>(compromis recall/precision)</a:t>
            </a:r>
          </a:p>
        </p:txBody>
      </p:sp>
      <p:sp>
        <p:nvSpPr>
          <p:cNvPr id="110" name="Rectangle : coins arrondis 109">
            <a:extLst>
              <a:ext uri="{FF2B5EF4-FFF2-40B4-BE49-F238E27FC236}">
                <a16:creationId xmlns:a16="http://schemas.microsoft.com/office/drawing/2014/main" id="{46BCE464-F417-469E-8A2F-CAD4F0BEE71F}"/>
              </a:ext>
            </a:extLst>
          </p:cNvPr>
          <p:cNvSpPr/>
          <p:nvPr/>
        </p:nvSpPr>
        <p:spPr>
          <a:xfrm>
            <a:off x="6386073" y="4816545"/>
            <a:ext cx="2654459" cy="142639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i="1" dirty="0">
                <a:solidFill>
                  <a:srgbClr val="2A0068"/>
                </a:solidFill>
              </a:rPr>
              <a:t>Parmi les modèles testés (LR, SVM, RF), </a:t>
            </a:r>
            <a:r>
              <a:rPr lang="fr-FR" b="1" i="1" dirty="0">
                <a:solidFill>
                  <a:srgbClr val="2A0068"/>
                </a:solidFill>
              </a:rPr>
              <a:t>sélection du meilleur modèle</a:t>
            </a:r>
          </a:p>
        </p:txBody>
      </p:sp>
      <p:sp>
        <p:nvSpPr>
          <p:cNvPr id="111" name="Rectangle : coins arrondis 110">
            <a:extLst>
              <a:ext uri="{FF2B5EF4-FFF2-40B4-BE49-F238E27FC236}">
                <a16:creationId xmlns:a16="http://schemas.microsoft.com/office/drawing/2014/main" id="{552D3DEF-0BC2-4AA4-AD3D-C01E433D3E38}"/>
              </a:ext>
            </a:extLst>
          </p:cNvPr>
          <p:cNvSpPr/>
          <p:nvPr/>
        </p:nvSpPr>
        <p:spPr>
          <a:xfrm>
            <a:off x="9170414" y="4816545"/>
            <a:ext cx="2654459" cy="142639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i="1" dirty="0">
                <a:solidFill>
                  <a:srgbClr val="2A0068"/>
                </a:solidFill>
              </a:rPr>
              <a:t>Bilan des </a:t>
            </a:r>
            <a:r>
              <a:rPr lang="fr-FR" b="1" i="1" dirty="0">
                <a:solidFill>
                  <a:srgbClr val="2A0068"/>
                </a:solidFill>
              </a:rPr>
              <a:t>perf. de notre meilleur modè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b="1" i="1" dirty="0">
                <a:solidFill>
                  <a:srgbClr val="2A0068"/>
                </a:solidFill>
              </a:rPr>
              <a:t>Insertion dans le dashboard (pickle)</a:t>
            </a:r>
          </a:p>
        </p:txBody>
      </p:sp>
      <p:sp>
        <p:nvSpPr>
          <p:cNvPr id="112" name="Rectangle : coins arrondis 111">
            <a:extLst>
              <a:ext uri="{FF2B5EF4-FFF2-40B4-BE49-F238E27FC236}">
                <a16:creationId xmlns:a16="http://schemas.microsoft.com/office/drawing/2014/main" id="{2344C3F0-BE94-4B5B-99CA-2C3FC4A38E1B}"/>
              </a:ext>
            </a:extLst>
          </p:cNvPr>
          <p:cNvSpPr/>
          <p:nvPr/>
        </p:nvSpPr>
        <p:spPr>
          <a:xfrm>
            <a:off x="365583" y="1675304"/>
            <a:ext cx="321926" cy="1426398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36000" tIns="0" rIns="36000" bIns="0" rtlCol="0" anchor="ctr"/>
          <a:lstStyle/>
          <a:p>
            <a:pPr algn="ctr"/>
            <a:r>
              <a:rPr lang="fr-FR" b="1" dirty="0">
                <a:solidFill>
                  <a:srgbClr val="2A0068"/>
                </a:solidFill>
              </a:rPr>
              <a:t>Input</a:t>
            </a:r>
          </a:p>
        </p:txBody>
      </p:sp>
      <p:sp>
        <p:nvSpPr>
          <p:cNvPr id="113" name="Rectangle : coins arrondis 112">
            <a:extLst>
              <a:ext uri="{FF2B5EF4-FFF2-40B4-BE49-F238E27FC236}">
                <a16:creationId xmlns:a16="http://schemas.microsoft.com/office/drawing/2014/main" id="{F032ED45-5AF1-45D0-841A-4F5A4B3C86E0}"/>
              </a:ext>
            </a:extLst>
          </p:cNvPr>
          <p:cNvSpPr/>
          <p:nvPr/>
        </p:nvSpPr>
        <p:spPr>
          <a:xfrm>
            <a:off x="365583" y="3217200"/>
            <a:ext cx="321926" cy="1426398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36000" tIns="0" rIns="36000" bIns="0" rtlCol="0" anchor="ctr"/>
          <a:lstStyle/>
          <a:p>
            <a:pPr algn="ctr"/>
            <a:r>
              <a:rPr lang="fr-FR" b="1" dirty="0">
                <a:solidFill>
                  <a:srgbClr val="2A0068"/>
                </a:solidFill>
              </a:rPr>
              <a:t>Objectif</a:t>
            </a:r>
          </a:p>
        </p:txBody>
      </p:sp>
      <p:sp>
        <p:nvSpPr>
          <p:cNvPr id="114" name="Rectangle : coins arrondis 113">
            <a:extLst>
              <a:ext uri="{FF2B5EF4-FFF2-40B4-BE49-F238E27FC236}">
                <a16:creationId xmlns:a16="http://schemas.microsoft.com/office/drawing/2014/main" id="{4FDD0B6F-BA61-4894-9387-581A16A78F7B}"/>
              </a:ext>
            </a:extLst>
          </p:cNvPr>
          <p:cNvSpPr/>
          <p:nvPr/>
        </p:nvSpPr>
        <p:spPr>
          <a:xfrm>
            <a:off x="365583" y="4816545"/>
            <a:ext cx="321926" cy="1426398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36000" tIns="0" rIns="36000" bIns="0" rtlCol="0" anchor="ctr"/>
          <a:lstStyle/>
          <a:p>
            <a:pPr algn="ctr"/>
            <a:r>
              <a:rPr lang="fr-FR" b="1" i="1" dirty="0">
                <a:solidFill>
                  <a:srgbClr val="2A0068"/>
                </a:solidFill>
              </a:rPr>
              <a:t>Output</a:t>
            </a:r>
          </a:p>
        </p:txBody>
      </p:sp>
      <p:cxnSp>
        <p:nvCxnSpPr>
          <p:cNvPr id="116" name="Connecteur droit 115">
            <a:extLst>
              <a:ext uri="{FF2B5EF4-FFF2-40B4-BE49-F238E27FC236}">
                <a16:creationId xmlns:a16="http://schemas.microsoft.com/office/drawing/2014/main" id="{AD795F57-05F6-4589-AEDE-6ED7229DA874}"/>
              </a:ext>
            </a:extLst>
          </p:cNvPr>
          <p:cNvCxnSpPr>
            <a:cxnSpLocks/>
          </p:cNvCxnSpPr>
          <p:nvPr/>
        </p:nvCxnSpPr>
        <p:spPr>
          <a:xfrm flipH="1">
            <a:off x="365583" y="4772873"/>
            <a:ext cx="11484000" cy="0"/>
          </a:xfrm>
          <a:prstGeom prst="line">
            <a:avLst/>
          </a:prstGeom>
          <a:ln>
            <a:solidFill>
              <a:srgbClr val="2A00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Connecteur droit 116">
            <a:extLst>
              <a:ext uri="{FF2B5EF4-FFF2-40B4-BE49-F238E27FC236}">
                <a16:creationId xmlns:a16="http://schemas.microsoft.com/office/drawing/2014/main" id="{FCD4CB33-CFB4-4D9E-A130-F6180CD9D289}"/>
              </a:ext>
            </a:extLst>
          </p:cNvPr>
          <p:cNvCxnSpPr>
            <a:cxnSpLocks/>
          </p:cNvCxnSpPr>
          <p:nvPr/>
        </p:nvCxnSpPr>
        <p:spPr>
          <a:xfrm flipH="1">
            <a:off x="354000" y="4721112"/>
            <a:ext cx="11484000" cy="0"/>
          </a:xfrm>
          <a:prstGeom prst="line">
            <a:avLst/>
          </a:prstGeom>
          <a:ln>
            <a:solidFill>
              <a:srgbClr val="2A00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7556773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89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>
            <a:extLst>
              <a:ext uri="{FF2B5EF4-FFF2-40B4-BE49-F238E27FC236}">
                <a16:creationId xmlns:a16="http://schemas.microsoft.com/office/drawing/2014/main" id="{86A52CCD-9959-43E4-90E1-14C68071D2EF}"/>
              </a:ext>
            </a:extLst>
          </p:cNvPr>
          <p:cNvSpPr>
            <a:spLocks/>
          </p:cNvSpPr>
          <p:nvPr/>
        </p:nvSpPr>
        <p:spPr>
          <a:xfrm>
            <a:off x="-1546" y="0"/>
            <a:ext cx="12193545" cy="544108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sp>
        <p:nvSpPr>
          <p:cNvPr id="70" name="Oval 21">
            <a:extLst>
              <a:ext uri="{FF2B5EF4-FFF2-40B4-BE49-F238E27FC236}">
                <a16:creationId xmlns:a16="http://schemas.microsoft.com/office/drawing/2014/main" id="{21E00B41-C90D-4BDF-A077-C8F7B556C7BC}"/>
              </a:ext>
            </a:extLst>
          </p:cNvPr>
          <p:cNvSpPr>
            <a:spLocks/>
          </p:cNvSpPr>
          <p:nvPr/>
        </p:nvSpPr>
        <p:spPr>
          <a:xfrm>
            <a:off x="4891314" y="-223688"/>
            <a:ext cx="2409372" cy="1008000"/>
          </a:xfrm>
          <a:prstGeom prst="ellipse">
            <a:avLst/>
          </a:prstGeom>
          <a:solidFill>
            <a:srgbClr val="D7D8D7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solidFill>
                <a:srgbClr val="2A0068"/>
              </a:solidFill>
              <a:uFillTx/>
              <a:latin typeface="Baloo" panose="03080902040302020200" pitchFamily="66" charset="0"/>
              <a:cs typeface="Baloo" panose="03080902040302020200" pitchFamily="66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F990D0F-3A28-4858-B939-D0DB6600268A}"/>
              </a:ext>
            </a:extLst>
          </p:cNvPr>
          <p:cNvSpPr>
            <a:spLocks/>
          </p:cNvSpPr>
          <p:nvPr/>
        </p:nvSpPr>
        <p:spPr>
          <a:xfrm>
            <a:off x="4530058" y="-249582"/>
            <a:ext cx="3131884" cy="783727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cxnSp>
        <p:nvCxnSpPr>
          <p:cNvPr id="74" name="Straight Connector 36">
            <a:extLst>
              <a:ext uri="{FF2B5EF4-FFF2-40B4-BE49-F238E27FC236}">
                <a16:creationId xmlns:a16="http://schemas.microsoft.com/office/drawing/2014/main" id="{6AC8BA9A-5A95-442A-86B2-D6471C273567}"/>
              </a:ext>
            </a:extLst>
          </p:cNvPr>
          <p:cNvCxnSpPr/>
          <p:nvPr/>
        </p:nvCxnSpPr>
        <p:spPr>
          <a:xfrm>
            <a:off x="4696733" y="190333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36">
            <a:extLst>
              <a:ext uri="{FF2B5EF4-FFF2-40B4-BE49-F238E27FC236}">
                <a16:creationId xmlns:a16="http://schemas.microsoft.com/office/drawing/2014/main" id="{3F5750F7-3C85-48DA-BD57-0EB1C694D16F}"/>
              </a:ext>
            </a:extLst>
          </p:cNvPr>
          <p:cNvCxnSpPr/>
          <p:nvPr/>
        </p:nvCxnSpPr>
        <p:spPr>
          <a:xfrm>
            <a:off x="2028856" y="19759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26">
            <a:extLst>
              <a:ext uri="{FF2B5EF4-FFF2-40B4-BE49-F238E27FC236}">
                <a16:creationId xmlns:a16="http://schemas.microsoft.com/office/drawing/2014/main" id="{39F69F4E-3B4A-41B5-8C1D-64E9A4BC90EE}"/>
              </a:ext>
            </a:extLst>
          </p:cNvPr>
          <p:cNvSpPr txBox="1">
            <a:spLocks/>
          </p:cNvSpPr>
          <p:nvPr/>
        </p:nvSpPr>
        <p:spPr>
          <a:xfrm>
            <a:off x="7287" y="142281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TEXTE</a:t>
            </a:r>
          </a:p>
        </p:txBody>
      </p:sp>
      <p:sp>
        <p:nvSpPr>
          <p:cNvPr id="81" name="TextBox 26">
            <a:extLst>
              <a:ext uri="{FF2B5EF4-FFF2-40B4-BE49-F238E27FC236}">
                <a16:creationId xmlns:a16="http://schemas.microsoft.com/office/drawing/2014/main" id="{57D0B7C0-DC57-431F-8DD5-2F8B24747D09}"/>
              </a:ext>
            </a:extLst>
          </p:cNvPr>
          <p:cNvSpPr txBox="1">
            <a:spLocks/>
          </p:cNvSpPr>
          <p:nvPr/>
        </p:nvSpPr>
        <p:spPr>
          <a:xfrm>
            <a:off x="2059287" y="146805"/>
            <a:ext cx="2891751" cy="3059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rgbClr val="2A0068"/>
                </a:solidFill>
                <a:latin typeface="Trebuchet MS" panose="020B0603020202020204" pitchFamily="34" charset="0"/>
              </a:rPr>
              <a:t>MODÉLISATION</a:t>
            </a:r>
          </a:p>
        </p:txBody>
      </p:sp>
      <p:sp>
        <p:nvSpPr>
          <p:cNvPr id="84" name="TextBox 26">
            <a:extLst>
              <a:ext uri="{FF2B5EF4-FFF2-40B4-BE49-F238E27FC236}">
                <a16:creationId xmlns:a16="http://schemas.microsoft.com/office/drawing/2014/main" id="{1E58C3BE-332E-4F11-B42C-F57336CE0B8D}"/>
              </a:ext>
            </a:extLst>
          </p:cNvPr>
          <p:cNvSpPr txBox="1">
            <a:spLocks/>
          </p:cNvSpPr>
          <p:nvPr/>
        </p:nvSpPr>
        <p:spPr>
          <a:xfrm>
            <a:off x="7424298" y="146062"/>
            <a:ext cx="2664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DASHBOARD</a:t>
            </a:r>
          </a:p>
        </p:txBody>
      </p:sp>
      <p:cxnSp>
        <p:nvCxnSpPr>
          <p:cNvPr id="85" name="Straight Connector 36">
            <a:extLst>
              <a:ext uri="{FF2B5EF4-FFF2-40B4-BE49-F238E27FC236}">
                <a16:creationId xmlns:a16="http://schemas.microsoft.com/office/drawing/2014/main" id="{411CB50C-1596-4CB9-9B0E-267D9C2F34B7}"/>
              </a:ext>
            </a:extLst>
          </p:cNvPr>
          <p:cNvCxnSpPr/>
          <p:nvPr/>
        </p:nvCxnSpPr>
        <p:spPr>
          <a:xfrm>
            <a:off x="7536962" y="199069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Box 26">
            <a:extLst>
              <a:ext uri="{FF2B5EF4-FFF2-40B4-BE49-F238E27FC236}">
                <a16:creationId xmlns:a16="http://schemas.microsoft.com/office/drawing/2014/main" id="{8E08889D-90B1-4A70-870B-25FADA1C2B74}"/>
              </a:ext>
            </a:extLst>
          </p:cNvPr>
          <p:cNvSpPr txBox="1">
            <a:spLocks/>
          </p:cNvSpPr>
          <p:nvPr/>
        </p:nvSpPr>
        <p:spPr>
          <a:xfrm>
            <a:off x="10103603" y="144968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CLUSION / Q&amp;A</a:t>
            </a:r>
          </a:p>
        </p:txBody>
      </p:sp>
      <p:cxnSp>
        <p:nvCxnSpPr>
          <p:cNvPr id="87" name="Straight Connector 36">
            <a:extLst>
              <a:ext uri="{FF2B5EF4-FFF2-40B4-BE49-F238E27FC236}">
                <a16:creationId xmlns:a16="http://schemas.microsoft.com/office/drawing/2014/main" id="{31239E27-F713-401B-8124-334323060D0F}"/>
              </a:ext>
            </a:extLst>
          </p:cNvPr>
          <p:cNvCxnSpPr/>
          <p:nvPr/>
        </p:nvCxnSpPr>
        <p:spPr>
          <a:xfrm>
            <a:off x="10081246" y="19745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13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3" name="Image 2">
            <a:extLst>
              <a:ext uri="{FF2B5EF4-FFF2-40B4-BE49-F238E27FC236}">
                <a16:creationId xmlns:a16="http://schemas.microsoft.com/office/drawing/2014/main" id="{7A389926-05FB-4C34-A31D-E1334EF99F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8447" y="0"/>
            <a:ext cx="2524125" cy="495300"/>
          </a:xfrm>
          <a:prstGeom prst="rect">
            <a:avLst/>
          </a:prstGeom>
        </p:spPr>
      </p:pic>
      <p:cxnSp>
        <p:nvCxnSpPr>
          <p:cNvPr id="72" name="Straight Connector 23">
            <a:extLst>
              <a:ext uri="{FF2B5EF4-FFF2-40B4-BE49-F238E27FC236}">
                <a16:creationId xmlns:a16="http://schemas.microsoft.com/office/drawing/2014/main" id="{458739B1-4232-4A83-872D-8C59735FB7B8}"/>
              </a:ext>
            </a:extLst>
          </p:cNvPr>
          <p:cNvCxnSpPr>
            <a:cxnSpLocks/>
          </p:cNvCxnSpPr>
          <p:nvPr/>
        </p:nvCxnSpPr>
        <p:spPr>
          <a:xfrm flipV="1">
            <a:off x="7103948" y="540993"/>
            <a:ext cx="5118532" cy="11708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22">
            <a:extLst>
              <a:ext uri="{FF2B5EF4-FFF2-40B4-BE49-F238E27FC236}">
                <a16:creationId xmlns:a16="http://schemas.microsoft.com/office/drawing/2014/main" id="{3E677F3D-C08E-49B3-BFF4-7E1553EE5144}"/>
              </a:ext>
            </a:extLst>
          </p:cNvPr>
          <p:cNvCxnSpPr>
            <a:cxnSpLocks/>
          </p:cNvCxnSpPr>
          <p:nvPr/>
        </p:nvCxnSpPr>
        <p:spPr>
          <a:xfrm>
            <a:off x="-21590" y="548496"/>
            <a:ext cx="5117779" cy="14365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B3E40F35-6F18-4795-94D0-0D751C6B0722}"/>
              </a:ext>
            </a:extLst>
          </p:cNvPr>
          <p:cNvSpPr/>
          <p:nvPr/>
        </p:nvSpPr>
        <p:spPr>
          <a:xfrm>
            <a:off x="353226" y="892388"/>
            <a:ext cx="11484000" cy="52322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800" b="1" dirty="0">
                <a:solidFill>
                  <a:srgbClr val="2A0068"/>
                </a:solidFill>
              </a:rPr>
              <a:t>Résultat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5F6CA13-0500-4EA2-AFB2-194FE2DBE1CB}"/>
              </a:ext>
            </a:extLst>
          </p:cNvPr>
          <p:cNvSpPr/>
          <p:nvPr/>
        </p:nvSpPr>
        <p:spPr>
          <a:xfrm>
            <a:off x="353226" y="1579488"/>
            <a:ext cx="11484000" cy="47300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DC8E639C-FDFB-4A1C-8AE0-2124E2462D8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01028" y="1723165"/>
            <a:ext cx="3959265" cy="612000"/>
          </a:xfrm>
          <a:prstGeom prst="rect">
            <a:avLst/>
          </a:prstGeom>
        </p:spPr>
      </p:pic>
      <p:cxnSp>
        <p:nvCxnSpPr>
          <p:cNvPr id="25" name="Connecteur droit 24">
            <a:extLst>
              <a:ext uri="{FF2B5EF4-FFF2-40B4-BE49-F238E27FC236}">
                <a16:creationId xmlns:a16="http://schemas.microsoft.com/office/drawing/2014/main" id="{0A936B0A-F461-4437-833C-E9EFC6B17B0C}"/>
              </a:ext>
            </a:extLst>
          </p:cNvPr>
          <p:cNvCxnSpPr/>
          <p:nvPr/>
        </p:nvCxnSpPr>
        <p:spPr>
          <a:xfrm>
            <a:off x="4851458" y="1529315"/>
            <a:ext cx="0" cy="4896000"/>
          </a:xfrm>
          <a:prstGeom prst="line">
            <a:avLst/>
          </a:prstGeom>
          <a:ln>
            <a:solidFill>
              <a:srgbClr val="2A00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Connecteur droit 25">
            <a:extLst>
              <a:ext uri="{FF2B5EF4-FFF2-40B4-BE49-F238E27FC236}">
                <a16:creationId xmlns:a16="http://schemas.microsoft.com/office/drawing/2014/main" id="{463E2CB8-414C-46B5-84AB-F67AB1858E75}"/>
              </a:ext>
            </a:extLst>
          </p:cNvPr>
          <p:cNvCxnSpPr/>
          <p:nvPr/>
        </p:nvCxnSpPr>
        <p:spPr>
          <a:xfrm>
            <a:off x="4900775" y="1529315"/>
            <a:ext cx="0" cy="4896000"/>
          </a:xfrm>
          <a:prstGeom prst="line">
            <a:avLst/>
          </a:prstGeom>
          <a:ln>
            <a:solidFill>
              <a:srgbClr val="2A00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tangle : coins arrondis 26">
            <a:extLst>
              <a:ext uri="{FF2B5EF4-FFF2-40B4-BE49-F238E27FC236}">
                <a16:creationId xmlns:a16="http://schemas.microsoft.com/office/drawing/2014/main" id="{72240B4A-9A6A-4057-BBC0-DD5B43361817}"/>
              </a:ext>
            </a:extLst>
          </p:cNvPr>
          <p:cNvSpPr/>
          <p:nvPr/>
        </p:nvSpPr>
        <p:spPr>
          <a:xfrm>
            <a:off x="430458" y="2478841"/>
            <a:ext cx="4266273" cy="3731954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82550" indent="-82550">
              <a:buFont typeface="Arial" panose="020B0604020202020204" pitchFamily="34" charset="0"/>
              <a:buChar char="•"/>
            </a:pPr>
            <a:r>
              <a:rPr lang="fr-FR" dirty="0">
                <a:solidFill>
                  <a:srgbClr val="2A0068"/>
                </a:solidFill>
              </a:rPr>
              <a:t>On cherche à </a:t>
            </a:r>
            <a:r>
              <a:rPr lang="fr-FR" b="1" dirty="0">
                <a:solidFill>
                  <a:srgbClr val="2A0068"/>
                </a:solidFill>
              </a:rPr>
              <a:t>prédire le taux de faux négatifs </a:t>
            </a:r>
            <a:r>
              <a:rPr lang="fr-FR" dirty="0">
                <a:solidFill>
                  <a:srgbClr val="2A0068"/>
                </a:solidFill>
              </a:rPr>
              <a:t>en tout premier lieu et </a:t>
            </a:r>
            <a:r>
              <a:rPr lang="fr-FR" b="1" dirty="0">
                <a:solidFill>
                  <a:srgbClr val="2A0068"/>
                </a:solidFill>
              </a:rPr>
              <a:t>les faux positifs </a:t>
            </a:r>
            <a:r>
              <a:rPr lang="fr-FR" dirty="0">
                <a:solidFill>
                  <a:srgbClr val="2A0068"/>
                </a:solidFill>
              </a:rPr>
              <a:t>en second lieu </a:t>
            </a:r>
          </a:p>
          <a:p>
            <a:pPr marL="82550" indent="-82550">
              <a:buFont typeface="Arial" panose="020B0604020202020204" pitchFamily="34" charset="0"/>
              <a:buChar char="•"/>
            </a:pPr>
            <a:r>
              <a:rPr lang="fr-FR" dirty="0">
                <a:solidFill>
                  <a:srgbClr val="2A0068"/>
                </a:solidFill>
              </a:rPr>
              <a:t>On cherche donc un </a:t>
            </a:r>
            <a:r>
              <a:rPr lang="fr-FR" b="1" dirty="0">
                <a:solidFill>
                  <a:srgbClr val="2A0068"/>
                </a:solidFill>
              </a:rPr>
              <a:t>compromis entre recall et précision</a:t>
            </a:r>
            <a:r>
              <a:rPr lang="fr-FR" dirty="0">
                <a:solidFill>
                  <a:srgbClr val="2A0068"/>
                </a:solidFill>
              </a:rPr>
              <a:t>, qui </a:t>
            </a:r>
            <a:r>
              <a:rPr lang="fr-FR" b="1" dirty="0">
                <a:solidFill>
                  <a:srgbClr val="2A0068"/>
                </a:solidFill>
              </a:rPr>
              <a:t>peut se formaliser dans le score F-bêta</a:t>
            </a:r>
          </a:p>
          <a:p>
            <a:pPr marL="82550" indent="-82550">
              <a:buFont typeface="Arial" panose="020B0604020202020204" pitchFamily="34" charset="0"/>
              <a:buChar char="•"/>
            </a:pPr>
            <a:r>
              <a:rPr lang="fr-FR" dirty="0">
                <a:solidFill>
                  <a:srgbClr val="2A0068"/>
                </a:solidFill>
              </a:rPr>
              <a:t>Il s’agit de la </a:t>
            </a:r>
            <a:r>
              <a:rPr lang="fr-FR" b="1" dirty="0">
                <a:solidFill>
                  <a:srgbClr val="2A0068"/>
                </a:solidFill>
              </a:rPr>
              <a:t>moyenne harmonique pondérée de la précision et du rappel</a:t>
            </a:r>
            <a:r>
              <a:rPr lang="fr-FR" dirty="0">
                <a:solidFill>
                  <a:srgbClr val="2A0068"/>
                </a:solidFill>
              </a:rPr>
              <a:t>, atteignant sa valeur optimale à 1 et sa pire valeur à 0</a:t>
            </a:r>
          </a:p>
          <a:p>
            <a:pPr marL="82550" indent="-82550">
              <a:buFont typeface="Arial" panose="020B0604020202020204" pitchFamily="34" charset="0"/>
              <a:buChar char="•"/>
            </a:pPr>
            <a:r>
              <a:rPr lang="fr-FR" dirty="0">
                <a:solidFill>
                  <a:srgbClr val="2A0068"/>
                </a:solidFill>
              </a:rPr>
              <a:t>Le </a:t>
            </a:r>
            <a:r>
              <a:rPr lang="fr-FR" b="1" dirty="0">
                <a:solidFill>
                  <a:srgbClr val="2A0068"/>
                </a:solidFill>
              </a:rPr>
              <a:t>paramètre beta détermine le poids du rappel dans le score combiné ; p</a:t>
            </a:r>
            <a:r>
              <a:rPr lang="fr-FR" b="1" i="0" dirty="0">
                <a:solidFill>
                  <a:srgbClr val="2A0068"/>
                </a:solidFill>
                <a:effectLst/>
              </a:rPr>
              <a:t>our β≥1, on accorde plus d’importance au recall </a:t>
            </a:r>
            <a:r>
              <a:rPr lang="fr-FR" i="0" dirty="0">
                <a:solidFill>
                  <a:srgbClr val="2A0068"/>
                </a:solidFill>
                <a:effectLst/>
              </a:rPr>
              <a:t>(autrement dit aux faux négatifs)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DFCC492-DB2A-4B00-A3A9-F731192BDA3F}"/>
              </a:ext>
            </a:extLst>
          </p:cNvPr>
          <p:cNvSpPr/>
          <p:nvPr/>
        </p:nvSpPr>
        <p:spPr>
          <a:xfrm>
            <a:off x="5139658" y="2854960"/>
            <a:ext cx="1982501" cy="1747520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800" dirty="0"/>
              <a:t>Régression logistique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8A6B74C1-5E6F-4303-9DDD-949C0F0042C7}"/>
              </a:ext>
            </a:extLst>
          </p:cNvPr>
          <p:cNvSpPr/>
          <p:nvPr/>
        </p:nvSpPr>
        <p:spPr>
          <a:xfrm>
            <a:off x="7341326" y="2854960"/>
            <a:ext cx="1982501" cy="1747520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800" dirty="0"/>
              <a:t>SVM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70D59BD6-1EFF-4965-B241-CB8739C29D05}"/>
              </a:ext>
            </a:extLst>
          </p:cNvPr>
          <p:cNvSpPr/>
          <p:nvPr/>
        </p:nvSpPr>
        <p:spPr>
          <a:xfrm>
            <a:off x="9527763" y="2854960"/>
            <a:ext cx="1982501" cy="1747520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800" dirty="0"/>
              <a:t>Forêt Aléatoire</a:t>
            </a:r>
          </a:p>
        </p:txBody>
      </p:sp>
      <p:pic>
        <p:nvPicPr>
          <p:cNvPr id="8" name="Graphique 7" descr="Couronne avec un remplissage uni">
            <a:extLst>
              <a:ext uri="{FF2B5EF4-FFF2-40B4-BE49-F238E27FC236}">
                <a16:creationId xmlns:a16="http://schemas.microsoft.com/office/drawing/2014/main" id="{E26B4516-BA5E-4AA3-98D2-5B708A95170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061813" y="2021641"/>
            <a:ext cx="914400" cy="914400"/>
          </a:xfrm>
          <a:prstGeom prst="rect">
            <a:avLst/>
          </a:prstGeom>
        </p:spPr>
      </p:pic>
      <p:sp>
        <p:nvSpPr>
          <p:cNvPr id="35" name="Rectangle 34">
            <a:extLst>
              <a:ext uri="{FF2B5EF4-FFF2-40B4-BE49-F238E27FC236}">
                <a16:creationId xmlns:a16="http://schemas.microsoft.com/office/drawing/2014/main" id="{B182E59C-5CD5-41A2-83EF-D8ACB7C7A715}"/>
              </a:ext>
            </a:extLst>
          </p:cNvPr>
          <p:cNvSpPr/>
          <p:nvPr/>
        </p:nvSpPr>
        <p:spPr>
          <a:xfrm>
            <a:off x="5129498" y="2855032"/>
            <a:ext cx="2016000" cy="1764000"/>
          </a:xfrm>
          <a:prstGeom prst="rect">
            <a:avLst/>
          </a:prstGeom>
          <a:solidFill>
            <a:schemeClr val="bg1">
              <a:lumMod val="95000"/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endParaRPr lang="fr-FR" sz="2800" dirty="0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7F8D2B75-6C6A-4F58-8259-67D561D582C2}"/>
              </a:ext>
            </a:extLst>
          </p:cNvPr>
          <p:cNvSpPr/>
          <p:nvPr/>
        </p:nvSpPr>
        <p:spPr>
          <a:xfrm>
            <a:off x="7341326" y="2855032"/>
            <a:ext cx="2016000" cy="1764000"/>
          </a:xfrm>
          <a:prstGeom prst="rect">
            <a:avLst/>
          </a:prstGeom>
          <a:solidFill>
            <a:schemeClr val="bg1">
              <a:lumMod val="95000"/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endParaRPr lang="fr-FR" sz="2800" dirty="0"/>
          </a:p>
        </p:txBody>
      </p:sp>
    </p:spTree>
    <p:extLst>
      <p:ext uri="{BB962C8B-B14F-4D97-AF65-F5344CB8AC3E}">
        <p14:creationId xmlns:p14="http://schemas.microsoft.com/office/powerpoint/2010/main" val="289558220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14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2A64376D-B03F-430E-AB31-F93C3268EA01}"/>
              </a:ext>
            </a:extLst>
          </p:cNvPr>
          <p:cNvSpPr/>
          <p:nvPr/>
        </p:nvSpPr>
        <p:spPr>
          <a:xfrm>
            <a:off x="-101600" y="-10160"/>
            <a:ext cx="12293600" cy="6868160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8800" dirty="0"/>
              <a:t>	3. Dashboard réalisé</a:t>
            </a:r>
          </a:p>
          <a:p>
            <a:r>
              <a:rPr lang="fr-FR" sz="4000" dirty="0"/>
              <a:t>	Outils utilisés</a:t>
            </a:r>
          </a:p>
          <a:p>
            <a:r>
              <a:rPr lang="fr-FR" sz="4000" dirty="0"/>
              <a:t>	Démo du dashboard</a:t>
            </a:r>
          </a:p>
          <a:p>
            <a:r>
              <a:rPr lang="fr-FR" sz="4000" dirty="0"/>
              <a:t>	Points d’améliorations possibles</a:t>
            </a:r>
          </a:p>
        </p:txBody>
      </p:sp>
      <p:cxnSp>
        <p:nvCxnSpPr>
          <p:cNvPr id="4" name="Connecteur droit 3">
            <a:extLst>
              <a:ext uri="{FF2B5EF4-FFF2-40B4-BE49-F238E27FC236}">
                <a16:creationId xmlns:a16="http://schemas.microsoft.com/office/drawing/2014/main" id="{6628E5E9-8C81-4D31-A167-A0BD9A996233}"/>
              </a:ext>
            </a:extLst>
          </p:cNvPr>
          <p:cNvCxnSpPr/>
          <p:nvPr/>
        </p:nvCxnSpPr>
        <p:spPr>
          <a:xfrm>
            <a:off x="284480" y="3098800"/>
            <a:ext cx="1144682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7449982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86485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49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9" name="Connecteur droit avec flèche 28">
            <a:extLst>
              <a:ext uri="{FF2B5EF4-FFF2-40B4-BE49-F238E27FC236}">
                <a16:creationId xmlns:a16="http://schemas.microsoft.com/office/drawing/2014/main" id="{8ADF1140-9B31-485C-A423-2A09CBF27B3E}"/>
              </a:ext>
            </a:extLst>
          </p:cNvPr>
          <p:cNvCxnSpPr/>
          <p:nvPr/>
        </p:nvCxnSpPr>
        <p:spPr>
          <a:xfrm flipV="1">
            <a:off x="653637" y="5223372"/>
            <a:ext cx="6732000" cy="0"/>
          </a:xfrm>
          <a:prstGeom prst="straightConnector1">
            <a:avLst/>
          </a:prstGeom>
          <a:ln w="381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19">
            <a:extLst>
              <a:ext uri="{FF2B5EF4-FFF2-40B4-BE49-F238E27FC236}">
                <a16:creationId xmlns:a16="http://schemas.microsoft.com/office/drawing/2014/main" id="{7A535E97-B03F-4D96-B68A-D35B5401F402}"/>
              </a:ext>
            </a:extLst>
          </p:cNvPr>
          <p:cNvSpPr/>
          <p:nvPr/>
        </p:nvSpPr>
        <p:spPr>
          <a:xfrm>
            <a:off x="283329" y="1175013"/>
            <a:ext cx="10806737" cy="5293945"/>
          </a:xfrm>
          <a:prstGeom prst="rect">
            <a:avLst/>
          </a:prstGeom>
          <a:noFill/>
          <a:ln w="38100">
            <a:solidFill>
              <a:schemeClr val="bg1">
                <a:lumMod val="9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0CFA2EFB-D0EE-48B7-A380-D99700DFC0BF}"/>
              </a:ext>
            </a:extLst>
          </p:cNvPr>
          <p:cNvSpPr/>
          <p:nvPr/>
        </p:nvSpPr>
        <p:spPr>
          <a:xfrm>
            <a:off x="7610958" y="1652297"/>
            <a:ext cx="3214451" cy="1356804"/>
          </a:xfrm>
          <a:prstGeom prst="rect">
            <a:avLst/>
          </a:prstGeom>
          <a:noFill/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 anchorCtr="0"/>
          <a:lstStyle/>
          <a:p>
            <a:pPr algn="ctr"/>
            <a:r>
              <a:rPr lang="fr-FR" sz="1400" b="1" dirty="0">
                <a:solidFill>
                  <a:schemeClr val="bg1">
                    <a:lumMod val="65000"/>
                  </a:schemeClr>
                </a:solidFill>
              </a:rPr>
              <a:t>Dashboard Streamlit</a:t>
            </a:r>
          </a:p>
          <a:p>
            <a:pPr algn="ctr"/>
            <a:endParaRPr lang="fr-FR" sz="1100" i="1" dirty="0">
              <a:solidFill>
                <a:schemeClr val="bg1">
                  <a:lumMod val="65000"/>
                </a:schemeClr>
              </a:solidFill>
            </a:endParaRPr>
          </a:p>
          <a:p>
            <a:pPr algn="ctr"/>
            <a:endParaRPr lang="fr-FR" sz="1100" i="1" dirty="0">
              <a:solidFill>
                <a:schemeClr val="bg1">
                  <a:lumMod val="65000"/>
                </a:schemeClr>
              </a:solidFill>
            </a:endParaRPr>
          </a:p>
          <a:p>
            <a:pPr algn="ctr"/>
            <a:endParaRPr lang="fr-FR" sz="1100" i="1" dirty="0">
              <a:solidFill>
                <a:schemeClr val="bg1">
                  <a:lumMod val="65000"/>
                </a:schemeClr>
              </a:solidFill>
            </a:endParaRPr>
          </a:p>
          <a:p>
            <a:pPr algn="ctr"/>
            <a:r>
              <a:rPr lang="fr-FR" sz="1100" i="1" dirty="0">
                <a:solidFill>
                  <a:schemeClr val="bg1">
                    <a:lumMod val="65000"/>
                  </a:schemeClr>
                </a:solidFill>
              </a:rPr>
              <a:t>Création d’un </a:t>
            </a:r>
            <a:r>
              <a:rPr lang="fr-FR" sz="1100" b="1" i="1" dirty="0">
                <a:solidFill>
                  <a:schemeClr val="bg1">
                    <a:lumMod val="65000"/>
                  </a:schemeClr>
                </a:solidFill>
              </a:rPr>
              <a:t>dashboard interactif</a:t>
            </a:r>
            <a:r>
              <a:rPr lang="fr-FR" sz="1100" i="1" dirty="0">
                <a:solidFill>
                  <a:schemeClr val="bg1">
                    <a:lumMod val="65000"/>
                  </a:schemeClr>
                </a:solidFill>
              </a:rPr>
              <a:t>, utilisable par les métiers et </a:t>
            </a:r>
            <a:r>
              <a:rPr lang="fr-FR" sz="1100" b="1" i="1" dirty="0">
                <a:solidFill>
                  <a:schemeClr val="bg1">
                    <a:lumMod val="65000"/>
                  </a:schemeClr>
                </a:solidFill>
              </a:rPr>
              <a:t>sans besoin de connaissances en data science </a:t>
            </a:r>
            <a:r>
              <a:rPr lang="fr-FR" sz="1100" i="1" dirty="0">
                <a:solidFill>
                  <a:schemeClr val="bg1">
                    <a:lumMod val="65000"/>
                  </a:schemeClr>
                </a:solidFill>
              </a:rPr>
              <a:t>(pour améliorer la relation client)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8A63D643-5047-437C-9E63-36EF48C957D5}"/>
              </a:ext>
            </a:extLst>
          </p:cNvPr>
          <p:cNvSpPr/>
          <p:nvPr/>
        </p:nvSpPr>
        <p:spPr>
          <a:xfrm>
            <a:off x="4667311" y="1882305"/>
            <a:ext cx="2210366" cy="1028661"/>
          </a:xfrm>
          <a:prstGeom prst="rect">
            <a:avLst/>
          </a:prstGeom>
          <a:noFill/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 anchorCtr="0"/>
          <a:lstStyle/>
          <a:p>
            <a:pPr algn="ctr"/>
            <a:r>
              <a:rPr lang="fr-FR" sz="1400" b="1" dirty="0">
                <a:solidFill>
                  <a:schemeClr val="bg1">
                    <a:lumMod val="65000"/>
                  </a:schemeClr>
                </a:solidFill>
              </a:rPr>
              <a:t>Api Flask</a:t>
            </a:r>
          </a:p>
          <a:p>
            <a:pPr algn="ctr"/>
            <a:endParaRPr lang="fr-FR" sz="1100" i="1" dirty="0">
              <a:solidFill>
                <a:schemeClr val="bg1">
                  <a:lumMod val="65000"/>
                </a:schemeClr>
              </a:solidFill>
            </a:endParaRPr>
          </a:p>
          <a:p>
            <a:pPr algn="ctr"/>
            <a:endParaRPr lang="fr-FR" sz="1100" i="1" dirty="0">
              <a:solidFill>
                <a:schemeClr val="bg1">
                  <a:lumMod val="65000"/>
                </a:schemeClr>
              </a:solidFill>
            </a:endParaRPr>
          </a:p>
          <a:p>
            <a:pPr algn="ctr"/>
            <a:r>
              <a:rPr lang="fr-FR" sz="1100" b="1" i="1" dirty="0">
                <a:solidFill>
                  <a:schemeClr val="bg1">
                    <a:lumMod val="65000"/>
                  </a:schemeClr>
                </a:solidFill>
              </a:rPr>
              <a:t>Création de l’API </a:t>
            </a:r>
            <a:r>
              <a:rPr lang="fr-FR" sz="1100" i="1" dirty="0">
                <a:solidFill>
                  <a:schemeClr val="bg1">
                    <a:lumMod val="65000"/>
                  </a:schemeClr>
                </a:solidFill>
              </a:rPr>
              <a:t>qui renvoie l’</a:t>
            </a:r>
            <a:r>
              <a:rPr lang="fr-FR" sz="1100" b="1" i="1" dirty="0">
                <a:solidFill>
                  <a:schemeClr val="bg1">
                    <a:lumMod val="65000"/>
                  </a:schemeClr>
                </a:solidFill>
              </a:rPr>
              <a:t>id client </a:t>
            </a:r>
            <a:r>
              <a:rPr lang="fr-FR" sz="1100" i="1" dirty="0">
                <a:solidFill>
                  <a:schemeClr val="bg1">
                    <a:lumMod val="65000"/>
                  </a:schemeClr>
                </a:solidFill>
              </a:rPr>
              <a:t>et </a:t>
            </a:r>
            <a:r>
              <a:rPr lang="fr-FR" sz="1100" b="1" i="1" dirty="0">
                <a:solidFill>
                  <a:schemeClr val="bg1">
                    <a:lumMod val="65000"/>
                  </a:schemeClr>
                </a:solidFill>
              </a:rPr>
              <a:t>prédiction associée</a:t>
            </a:r>
            <a:endParaRPr lang="fr-FR" sz="2000" b="1" dirty="0">
              <a:solidFill>
                <a:schemeClr val="bg1">
                  <a:lumMod val="65000"/>
                </a:schemeClr>
              </a:solidFill>
            </a:endParaRP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15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sp>
        <p:nvSpPr>
          <p:cNvPr id="36" name="Rectangle 35">
            <a:extLst>
              <a:ext uri="{FF2B5EF4-FFF2-40B4-BE49-F238E27FC236}">
                <a16:creationId xmlns:a16="http://schemas.microsoft.com/office/drawing/2014/main" id="{B14AF14B-9DEB-460B-A8CB-134EC9C89D5A}"/>
              </a:ext>
            </a:extLst>
          </p:cNvPr>
          <p:cNvSpPr/>
          <p:nvPr/>
        </p:nvSpPr>
        <p:spPr>
          <a:xfrm>
            <a:off x="653637" y="1265425"/>
            <a:ext cx="999861" cy="1747434"/>
          </a:xfrm>
          <a:prstGeom prst="rect">
            <a:avLst/>
          </a:prstGeom>
          <a:noFill/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 anchorCtr="0"/>
          <a:lstStyle/>
          <a:p>
            <a:pPr algn="ctr"/>
            <a:r>
              <a:rPr lang="fr-FR" sz="1400" b="1" dirty="0">
                <a:solidFill>
                  <a:schemeClr val="bg1">
                    <a:lumMod val="65000"/>
                  </a:schemeClr>
                </a:solidFill>
              </a:rPr>
              <a:t>Notebooks Jupyter</a:t>
            </a:r>
          </a:p>
          <a:p>
            <a:pPr algn="ctr"/>
            <a:endParaRPr lang="fr-FR" sz="1600" b="1" dirty="0">
              <a:solidFill>
                <a:schemeClr val="bg1">
                  <a:lumMod val="65000"/>
                </a:schemeClr>
              </a:solidFill>
            </a:endParaRPr>
          </a:p>
          <a:p>
            <a:pPr algn="ctr"/>
            <a:endParaRPr lang="fr-FR" sz="1600" b="1" dirty="0">
              <a:solidFill>
                <a:schemeClr val="bg1">
                  <a:lumMod val="65000"/>
                </a:schemeClr>
              </a:solidFill>
            </a:endParaRPr>
          </a:p>
          <a:p>
            <a:pPr algn="ctr"/>
            <a:r>
              <a:rPr lang="fr-FR" sz="1100" b="1" i="1" dirty="0">
                <a:solidFill>
                  <a:schemeClr val="bg1">
                    <a:lumMod val="65000"/>
                  </a:schemeClr>
                </a:solidFill>
              </a:rPr>
              <a:t>Exploration, analyse et modélisation de données</a:t>
            </a:r>
          </a:p>
        </p:txBody>
      </p:sp>
      <p:pic>
        <p:nvPicPr>
          <p:cNvPr id="37" name="Picture 8" descr="Jupyter — Wikipédia">
            <a:extLst>
              <a:ext uri="{FF2B5EF4-FFF2-40B4-BE49-F238E27FC236}">
                <a16:creationId xmlns:a16="http://schemas.microsoft.com/office/drawing/2014/main" id="{A819D13F-6936-4AA7-BE5F-729EFF300E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4081" y="1733460"/>
            <a:ext cx="403761" cy="46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5" name="Rectangle 54">
            <a:extLst>
              <a:ext uri="{FF2B5EF4-FFF2-40B4-BE49-F238E27FC236}">
                <a16:creationId xmlns:a16="http://schemas.microsoft.com/office/drawing/2014/main" id="{003B7AEE-CCE4-4CF5-9BD9-703F8637D699}"/>
              </a:ext>
            </a:extLst>
          </p:cNvPr>
          <p:cNvSpPr/>
          <p:nvPr/>
        </p:nvSpPr>
        <p:spPr>
          <a:xfrm>
            <a:off x="2477337" y="2322601"/>
            <a:ext cx="1757369" cy="623392"/>
          </a:xfrm>
          <a:prstGeom prst="rect">
            <a:avLst/>
          </a:prstGeom>
          <a:noFill/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 anchorCtr="0"/>
          <a:lstStyle/>
          <a:p>
            <a:pPr algn="ctr"/>
            <a:r>
              <a:rPr lang="fr-FR" sz="1400" b="1" dirty="0">
                <a:solidFill>
                  <a:schemeClr val="bg1">
                    <a:lumMod val="65000"/>
                  </a:schemeClr>
                </a:solidFill>
              </a:rPr>
              <a:t>Data Test Client</a:t>
            </a:r>
          </a:p>
          <a:p>
            <a:pPr algn="ctr"/>
            <a:r>
              <a:rPr lang="fr-FR" sz="1100" b="1" i="1" dirty="0">
                <a:solidFill>
                  <a:schemeClr val="bg1">
                    <a:lumMod val="65000"/>
                  </a:schemeClr>
                </a:solidFill>
              </a:rPr>
              <a:t>CSV qui contient </a:t>
            </a:r>
            <a:r>
              <a:rPr lang="fr-FR" sz="1100" i="1" dirty="0">
                <a:solidFill>
                  <a:schemeClr val="bg1">
                    <a:lumMod val="65000"/>
                  </a:schemeClr>
                </a:solidFill>
              </a:rPr>
              <a:t>les </a:t>
            </a:r>
            <a:r>
              <a:rPr lang="fr-FR" sz="1100" b="1" i="1" dirty="0">
                <a:solidFill>
                  <a:schemeClr val="bg1">
                    <a:lumMod val="65000"/>
                  </a:schemeClr>
                </a:solidFill>
              </a:rPr>
              <a:t>variables prédictrices</a:t>
            </a:r>
            <a:endParaRPr lang="fr-FR" sz="1600" b="1" dirty="0">
              <a:solidFill>
                <a:schemeClr val="bg1">
                  <a:lumMod val="65000"/>
                </a:schemeClr>
              </a:solidFill>
            </a:endParaRPr>
          </a:p>
        </p:txBody>
      </p:sp>
      <p:cxnSp>
        <p:nvCxnSpPr>
          <p:cNvPr id="58" name="Connecteur droit avec flèche 57">
            <a:extLst>
              <a:ext uri="{FF2B5EF4-FFF2-40B4-BE49-F238E27FC236}">
                <a16:creationId xmlns:a16="http://schemas.microsoft.com/office/drawing/2014/main" id="{42B7E2A4-442B-4F13-B9F8-6DB79F35C481}"/>
              </a:ext>
            </a:extLst>
          </p:cNvPr>
          <p:cNvCxnSpPr>
            <a:cxnSpLocks/>
          </p:cNvCxnSpPr>
          <p:nvPr/>
        </p:nvCxnSpPr>
        <p:spPr>
          <a:xfrm>
            <a:off x="1646405" y="1799253"/>
            <a:ext cx="828000" cy="0"/>
          </a:xfrm>
          <a:prstGeom prst="straightConnector1">
            <a:avLst/>
          </a:prstGeom>
          <a:ln w="38100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2" name="Picture 4" descr="Agence Expert Python pour FinTech">
            <a:extLst>
              <a:ext uri="{FF2B5EF4-FFF2-40B4-BE49-F238E27FC236}">
                <a16:creationId xmlns:a16="http://schemas.microsoft.com/office/drawing/2014/main" id="{81F1703C-A2B0-4B91-AE9D-EC37D7DB9BE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90136" y="2123322"/>
            <a:ext cx="578570" cy="32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5" name="Connecteur droit avec flèche 64">
            <a:extLst>
              <a:ext uri="{FF2B5EF4-FFF2-40B4-BE49-F238E27FC236}">
                <a16:creationId xmlns:a16="http://schemas.microsoft.com/office/drawing/2014/main" id="{03D8CD04-7248-453E-B3DC-4393648DB255}"/>
              </a:ext>
            </a:extLst>
          </p:cNvPr>
          <p:cNvCxnSpPr>
            <a:cxnSpLocks/>
          </p:cNvCxnSpPr>
          <p:nvPr/>
        </p:nvCxnSpPr>
        <p:spPr>
          <a:xfrm>
            <a:off x="4365866" y="2366061"/>
            <a:ext cx="288000" cy="0"/>
          </a:xfrm>
          <a:prstGeom prst="straightConnector1">
            <a:avLst/>
          </a:prstGeom>
          <a:ln w="38100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Connecteur droit 65">
            <a:extLst>
              <a:ext uri="{FF2B5EF4-FFF2-40B4-BE49-F238E27FC236}">
                <a16:creationId xmlns:a16="http://schemas.microsoft.com/office/drawing/2014/main" id="{6C147559-E8BA-4D23-9454-BE8843E2421D}"/>
              </a:ext>
            </a:extLst>
          </p:cNvPr>
          <p:cNvCxnSpPr>
            <a:cxnSpLocks/>
          </p:cNvCxnSpPr>
          <p:nvPr/>
        </p:nvCxnSpPr>
        <p:spPr>
          <a:xfrm flipH="1">
            <a:off x="4365868" y="1887410"/>
            <a:ext cx="0" cy="936000"/>
          </a:xfrm>
          <a:prstGeom prst="line">
            <a:avLst/>
          </a:prstGeom>
          <a:ln w="381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Connecteur droit 66">
            <a:extLst>
              <a:ext uri="{FF2B5EF4-FFF2-40B4-BE49-F238E27FC236}">
                <a16:creationId xmlns:a16="http://schemas.microsoft.com/office/drawing/2014/main" id="{D9DC3DD9-269B-4132-9A03-55528FA7BF51}"/>
              </a:ext>
            </a:extLst>
          </p:cNvPr>
          <p:cNvCxnSpPr>
            <a:cxnSpLocks/>
          </p:cNvCxnSpPr>
          <p:nvPr/>
        </p:nvCxnSpPr>
        <p:spPr>
          <a:xfrm flipH="1">
            <a:off x="4240341" y="2804431"/>
            <a:ext cx="144000" cy="0"/>
          </a:xfrm>
          <a:prstGeom prst="line">
            <a:avLst/>
          </a:prstGeom>
          <a:ln w="381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Connecteur droit 67">
            <a:extLst>
              <a:ext uri="{FF2B5EF4-FFF2-40B4-BE49-F238E27FC236}">
                <a16:creationId xmlns:a16="http://schemas.microsoft.com/office/drawing/2014/main" id="{F7FB7A86-83B5-4A2C-ABB5-C6DB252E98C9}"/>
              </a:ext>
            </a:extLst>
          </p:cNvPr>
          <p:cNvCxnSpPr>
            <a:cxnSpLocks/>
          </p:cNvCxnSpPr>
          <p:nvPr/>
        </p:nvCxnSpPr>
        <p:spPr>
          <a:xfrm flipH="1">
            <a:off x="4242870" y="1904821"/>
            <a:ext cx="108000" cy="0"/>
          </a:xfrm>
          <a:prstGeom prst="line">
            <a:avLst/>
          </a:prstGeom>
          <a:ln w="381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Rectangle 49">
            <a:extLst>
              <a:ext uri="{FF2B5EF4-FFF2-40B4-BE49-F238E27FC236}">
                <a16:creationId xmlns:a16="http://schemas.microsoft.com/office/drawing/2014/main" id="{B0B95F21-C4E0-4527-8B68-9D8230964F4F}"/>
              </a:ext>
            </a:extLst>
          </p:cNvPr>
          <p:cNvSpPr/>
          <p:nvPr/>
        </p:nvSpPr>
        <p:spPr>
          <a:xfrm>
            <a:off x="2472583" y="1499450"/>
            <a:ext cx="1762123" cy="623392"/>
          </a:xfrm>
          <a:prstGeom prst="rect">
            <a:avLst/>
          </a:prstGeom>
          <a:noFill/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 anchorCtr="0"/>
          <a:lstStyle/>
          <a:p>
            <a:pPr algn="ctr"/>
            <a:r>
              <a:rPr lang="fr-FR" sz="1400" b="1" dirty="0">
                <a:solidFill>
                  <a:schemeClr val="bg1">
                    <a:lumMod val="65000"/>
                  </a:schemeClr>
                </a:solidFill>
              </a:rPr>
              <a:t>Modèle ML</a:t>
            </a:r>
          </a:p>
          <a:p>
            <a:pPr algn="ctr"/>
            <a:r>
              <a:rPr lang="fr-FR" sz="1100" b="1" i="1" dirty="0">
                <a:solidFill>
                  <a:schemeClr val="bg1">
                    <a:lumMod val="65000"/>
                  </a:schemeClr>
                </a:solidFill>
              </a:rPr>
              <a:t>Random Forest </a:t>
            </a:r>
            <a:r>
              <a:rPr lang="fr-FR" sz="1100" i="1" dirty="0">
                <a:solidFill>
                  <a:schemeClr val="bg1">
                    <a:lumMod val="65000"/>
                  </a:schemeClr>
                </a:solidFill>
              </a:rPr>
              <a:t>entrainé sur le training set</a:t>
            </a:r>
          </a:p>
          <a:p>
            <a:pPr algn="ctr"/>
            <a:endParaRPr lang="fr-FR" sz="1600" b="1" dirty="0">
              <a:solidFill>
                <a:schemeClr val="bg1">
                  <a:lumMod val="65000"/>
                </a:schemeClr>
              </a:solidFill>
            </a:endParaRPr>
          </a:p>
        </p:txBody>
      </p:sp>
      <p:pic>
        <p:nvPicPr>
          <p:cNvPr id="76" name="Image 75">
            <a:extLst>
              <a:ext uri="{FF2B5EF4-FFF2-40B4-BE49-F238E27FC236}">
                <a16:creationId xmlns:a16="http://schemas.microsoft.com/office/drawing/2014/main" id="{079AEE5A-DBDB-47AC-AC3D-1241A3943189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duotone>
              <a:schemeClr val="accent3">
                <a:shade val="45000"/>
                <a:satMod val="135000"/>
              </a:schemeClr>
              <a:prstClr val="white"/>
            </a:duotone>
          </a:blip>
          <a:srcRect l="18178" t="23716" r="15778" b="17421"/>
          <a:stretch/>
        </p:blipFill>
        <p:spPr>
          <a:xfrm>
            <a:off x="8736616" y="1903269"/>
            <a:ext cx="900000" cy="419113"/>
          </a:xfrm>
          <a:prstGeom prst="rect">
            <a:avLst/>
          </a:prstGeom>
        </p:spPr>
      </p:pic>
      <p:sp>
        <p:nvSpPr>
          <p:cNvPr id="54" name="Rectangle 53">
            <a:extLst>
              <a:ext uri="{FF2B5EF4-FFF2-40B4-BE49-F238E27FC236}">
                <a16:creationId xmlns:a16="http://schemas.microsoft.com/office/drawing/2014/main" id="{024D09A9-5C86-43E4-B3B7-4B86F9D399E2}"/>
              </a:ext>
            </a:extLst>
          </p:cNvPr>
          <p:cNvSpPr/>
          <p:nvPr/>
        </p:nvSpPr>
        <p:spPr>
          <a:xfrm>
            <a:off x="539414" y="313553"/>
            <a:ext cx="10398251" cy="2763915"/>
          </a:xfrm>
          <a:prstGeom prst="rect">
            <a:avLst/>
          </a:prstGeom>
          <a:noFill/>
          <a:ln w="3810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31442CF3-2321-427B-940D-49F9739FD2BE}"/>
              </a:ext>
            </a:extLst>
          </p:cNvPr>
          <p:cNvSpPr/>
          <p:nvPr/>
        </p:nvSpPr>
        <p:spPr>
          <a:xfrm>
            <a:off x="7610958" y="384168"/>
            <a:ext cx="3214448" cy="543787"/>
          </a:xfrm>
          <a:prstGeom prst="rect">
            <a:avLst/>
          </a:prstGeom>
          <a:noFill/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 anchorCtr="0"/>
          <a:lstStyle/>
          <a:p>
            <a:pPr algn="ctr"/>
            <a:r>
              <a:rPr lang="fr-FR" sz="1400" b="1" dirty="0">
                <a:solidFill>
                  <a:schemeClr val="bg1">
                    <a:lumMod val="65000"/>
                  </a:schemeClr>
                </a:solidFill>
              </a:rPr>
              <a:t>Dashboard déployé en local</a:t>
            </a:r>
          </a:p>
          <a:p>
            <a:pPr algn="ctr"/>
            <a:r>
              <a:rPr lang="fr-FR" sz="1100" i="1" dirty="0">
                <a:solidFill>
                  <a:schemeClr val="bg1">
                    <a:lumMod val="65000"/>
                  </a:schemeClr>
                </a:solidFill>
              </a:rPr>
              <a:t>Dashboard accessible depuis mon ordinateur uniquement</a:t>
            </a:r>
          </a:p>
        </p:txBody>
      </p:sp>
      <p:cxnSp>
        <p:nvCxnSpPr>
          <p:cNvPr id="88" name="Connecteur droit avec flèche 87">
            <a:extLst>
              <a:ext uri="{FF2B5EF4-FFF2-40B4-BE49-F238E27FC236}">
                <a16:creationId xmlns:a16="http://schemas.microsoft.com/office/drawing/2014/main" id="{2E4E8689-0410-4437-9734-7DF27E0A05B6}"/>
              </a:ext>
            </a:extLst>
          </p:cNvPr>
          <p:cNvCxnSpPr>
            <a:cxnSpLocks/>
          </p:cNvCxnSpPr>
          <p:nvPr/>
        </p:nvCxnSpPr>
        <p:spPr>
          <a:xfrm flipH="1">
            <a:off x="6876974" y="2087166"/>
            <a:ext cx="720000" cy="0"/>
          </a:xfrm>
          <a:prstGeom prst="straightConnector1">
            <a:avLst/>
          </a:prstGeom>
          <a:ln w="38100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Connecteur droit avec flèche 92">
            <a:extLst>
              <a:ext uri="{FF2B5EF4-FFF2-40B4-BE49-F238E27FC236}">
                <a16:creationId xmlns:a16="http://schemas.microsoft.com/office/drawing/2014/main" id="{4A272DC6-5AE4-434B-A478-996FC799B166}"/>
              </a:ext>
            </a:extLst>
          </p:cNvPr>
          <p:cNvCxnSpPr>
            <a:cxnSpLocks/>
          </p:cNvCxnSpPr>
          <p:nvPr/>
        </p:nvCxnSpPr>
        <p:spPr>
          <a:xfrm>
            <a:off x="1642112" y="2610284"/>
            <a:ext cx="828000" cy="0"/>
          </a:xfrm>
          <a:prstGeom prst="straightConnector1">
            <a:avLst/>
          </a:prstGeom>
          <a:ln w="38100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Connecteur droit avec flèche 96">
            <a:extLst>
              <a:ext uri="{FF2B5EF4-FFF2-40B4-BE49-F238E27FC236}">
                <a16:creationId xmlns:a16="http://schemas.microsoft.com/office/drawing/2014/main" id="{05966A56-6328-4719-B3C0-1EBD2F46329B}"/>
              </a:ext>
            </a:extLst>
          </p:cNvPr>
          <p:cNvCxnSpPr>
            <a:cxnSpLocks/>
          </p:cNvCxnSpPr>
          <p:nvPr/>
        </p:nvCxnSpPr>
        <p:spPr>
          <a:xfrm>
            <a:off x="6883733" y="2586173"/>
            <a:ext cx="720000" cy="0"/>
          </a:xfrm>
          <a:prstGeom prst="straightConnector1">
            <a:avLst/>
          </a:prstGeom>
          <a:ln w="38100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Rectangle 99">
            <a:extLst>
              <a:ext uri="{FF2B5EF4-FFF2-40B4-BE49-F238E27FC236}">
                <a16:creationId xmlns:a16="http://schemas.microsoft.com/office/drawing/2014/main" id="{EB30E593-995B-4E36-9639-95C4ABECDB1E}"/>
              </a:ext>
            </a:extLst>
          </p:cNvPr>
          <p:cNvSpPr/>
          <p:nvPr/>
        </p:nvSpPr>
        <p:spPr>
          <a:xfrm>
            <a:off x="517642" y="3316014"/>
            <a:ext cx="2844000" cy="21833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1400" b="1" dirty="0">
                <a:solidFill>
                  <a:schemeClr val="bg1">
                    <a:lumMod val="65000"/>
                  </a:schemeClr>
                </a:solidFill>
              </a:rPr>
              <a:t>Environnement de production (cloud)</a:t>
            </a: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841BE4EB-97E8-446B-8597-E9A667597768}"/>
              </a:ext>
            </a:extLst>
          </p:cNvPr>
          <p:cNvSpPr/>
          <p:nvPr/>
        </p:nvSpPr>
        <p:spPr>
          <a:xfrm>
            <a:off x="517642" y="3295343"/>
            <a:ext cx="10420023" cy="2589406"/>
          </a:xfrm>
          <a:prstGeom prst="rect">
            <a:avLst/>
          </a:prstGeom>
          <a:noFill/>
          <a:ln w="3810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pic>
        <p:nvPicPr>
          <p:cNvPr id="104" name="Picture 2" descr="Heroku Apache Kafka expliqué">
            <a:extLst>
              <a:ext uri="{FF2B5EF4-FFF2-40B4-BE49-F238E27FC236}">
                <a16:creationId xmlns:a16="http://schemas.microsoft.com/office/drawing/2014/main" id="{C193C569-5779-4856-8D5F-F644B26BC30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39" t="20102" r="5756" b="18784"/>
          <a:stretch/>
        </p:blipFill>
        <p:spPr bwMode="auto">
          <a:xfrm>
            <a:off x="1866853" y="3689689"/>
            <a:ext cx="1815623" cy="5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2" name="Rectangle 111">
            <a:extLst>
              <a:ext uri="{FF2B5EF4-FFF2-40B4-BE49-F238E27FC236}">
                <a16:creationId xmlns:a16="http://schemas.microsoft.com/office/drawing/2014/main" id="{DCFC1F2A-04BF-4E53-9DC0-8D47EDC40763}"/>
              </a:ext>
            </a:extLst>
          </p:cNvPr>
          <p:cNvSpPr/>
          <p:nvPr/>
        </p:nvSpPr>
        <p:spPr>
          <a:xfrm>
            <a:off x="4408696" y="383117"/>
            <a:ext cx="2643391" cy="566123"/>
          </a:xfrm>
          <a:prstGeom prst="rect">
            <a:avLst/>
          </a:prstGeom>
          <a:noFill/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 anchorCtr="0"/>
          <a:lstStyle/>
          <a:p>
            <a:pPr algn="ctr"/>
            <a:r>
              <a:rPr lang="fr-FR" sz="1400" b="1" dirty="0">
                <a:solidFill>
                  <a:schemeClr val="bg1">
                    <a:lumMod val="65000"/>
                  </a:schemeClr>
                </a:solidFill>
              </a:rPr>
              <a:t>API déployée en local</a:t>
            </a:r>
          </a:p>
          <a:p>
            <a:pPr algn="ctr"/>
            <a:r>
              <a:rPr lang="fr-FR" sz="1100" i="1" dirty="0">
                <a:solidFill>
                  <a:schemeClr val="bg1">
                    <a:lumMod val="65000"/>
                  </a:schemeClr>
                </a:solidFill>
              </a:rPr>
              <a:t>Adresse Web utilisable en local uniquement (sous la forme https:// adresse/api/id_client)</a:t>
            </a:r>
          </a:p>
        </p:txBody>
      </p:sp>
      <p:sp>
        <p:nvSpPr>
          <p:cNvPr id="117" name="Rectangle 116">
            <a:extLst>
              <a:ext uri="{FF2B5EF4-FFF2-40B4-BE49-F238E27FC236}">
                <a16:creationId xmlns:a16="http://schemas.microsoft.com/office/drawing/2014/main" id="{1ECE2E1B-6839-44F4-B488-8DFBE1F623AA}"/>
              </a:ext>
            </a:extLst>
          </p:cNvPr>
          <p:cNvSpPr/>
          <p:nvPr/>
        </p:nvSpPr>
        <p:spPr>
          <a:xfrm>
            <a:off x="3931647" y="3699816"/>
            <a:ext cx="2952085" cy="539411"/>
          </a:xfrm>
          <a:prstGeom prst="rect">
            <a:avLst/>
          </a:prstGeom>
          <a:noFill/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1400" b="1" dirty="0">
                <a:solidFill>
                  <a:schemeClr val="bg1">
                    <a:lumMod val="65000"/>
                  </a:schemeClr>
                </a:solidFill>
              </a:rPr>
              <a:t>API accessible depuis n’importe quel ordinateur </a:t>
            </a:r>
            <a:r>
              <a:rPr lang="fr-FR" sz="1400" b="1" dirty="0">
                <a:solidFill>
                  <a:srgbClr val="2A0068"/>
                </a:solidFill>
                <a:hlinkClick r:id="rId1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ci</a:t>
            </a:r>
            <a:endParaRPr lang="fr-FR" sz="1400" b="1" dirty="0">
              <a:solidFill>
                <a:srgbClr val="2A0068"/>
              </a:solidFill>
            </a:endParaRPr>
          </a:p>
        </p:txBody>
      </p:sp>
      <p:sp>
        <p:nvSpPr>
          <p:cNvPr id="118" name="Rectangle 117">
            <a:extLst>
              <a:ext uri="{FF2B5EF4-FFF2-40B4-BE49-F238E27FC236}">
                <a16:creationId xmlns:a16="http://schemas.microsoft.com/office/drawing/2014/main" id="{AEAC7983-9BB4-44D4-BDBC-605AFEE10395}"/>
              </a:ext>
            </a:extLst>
          </p:cNvPr>
          <p:cNvSpPr/>
          <p:nvPr/>
        </p:nvSpPr>
        <p:spPr>
          <a:xfrm>
            <a:off x="7676988" y="3699816"/>
            <a:ext cx="3144791" cy="539411"/>
          </a:xfrm>
          <a:prstGeom prst="rect">
            <a:avLst/>
          </a:prstGeom>
          <a:noFill/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1400" b="1" dirty="0">
                <a:solidFill>
                  <a:schemeClr val="bg1">
                    <a:lumMod val="65000"/>
                  </a:schemeClr>
                </a:solidFill>
              </a:rPr>
              <a:t>Dashboard accessible depuis n’importe quel ordinateur </a:t>
            </a:r>
            <a:r>
              <a:rPr lang="fr-FR" sz="1400" b="1" dirty="0">
                <a:solidFill>
                  <a:srgbClr val="2A0068"/>
                </a:solidFill>
                <a:hlinkClick r:id="rId1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ci</a:t>
            </a:r>
            <a:endParaRPr lang="fr-FR" sz="1400" b="1" dirty="0">
              <a:solidFill>
                <a:srgbClr val="2A0068"/>
              </a:solidFill>
            </a:endParaRPr>
          </a:p>
        </p:txBody>
      </p:sp>
      <p:cxnSp>
        <p:nvCxnSpPr>
          <p:cNvPr id="119" name="Connecteur droit avec flèche 118">
            <a:extLst>
              <a:ext uri="{FF2B5EF4-FFF2-40B4-BE49-F238E27FC236}">
                <a16:creationId xmlns:a16="http://schemas.microsoft.com/office/drawing/2014/main" id="{572D584D-EBF5-4BA4-85E7-0AED96B71A3D}"/>
              </a:ext>
            </a:extLst>
          </p:cNvPr>
          <p:cNvCxnSpPr>
            <a:cxnSpLocks/>
          </p:cNvCxnSpPr>
          <p:nvPr/>
        </p:nvCxnSpPr>
        <p:spPr>
          <a:xfrm>
            <a:off x="6890958" y="4017328"/>
            <a:ext cx="792000" cy="0"/>
          </a:xfrm>
          <a:prstGeom prst="straightConnector1">
            <a:avLst/>
          </a:prstGeom>
          <a:ln w="38100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0" name="Rectangle 119">
            <a:extLst>
              <a:ext uri="{FF2B5EF4-FFF2-40B4-BE49-F238E27FC236}">
                <a16:creationId xmlns:a16="http://schemas.microsoft.com/office/drawing/2014/main" id="{E45CDA4B-A854-4B58-97BE-55A632928993}"/>
              </a:ext>
            </a:extLst>
          </p:cNvPr>
          <p:cNvSpPr/>
          <p:nvPr/>
        </p:nvSpPr>
        <p:spPr>
          <a:xfrm>
            <a:off x="1712767" y="3656953"/>
            <a:ext cx="9168281" cy="626375"/>
          </a:xfrm>
          <a:prstGeom prst="rect">
            <a:avLst/>
          </a:prstGeom>
          <a:noFill/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endParaRPr lang="fr-FR" sz="1400" b="1" dirty="0">
              <a:solidFill>
                <a:schemeClr val="bg1">
                  <a:lumMod val="95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21" name="Rectangle 120">
            <a:extLst>
              <a:ext uri="{FF2B5EF4-FFF2-40B4-BE49-F238E27FC236}">
                <a16:creationId xmlns:a16="http://schemas.microsoft.com/office/drawing/2014/main" id="{9CF0C9E3-B2F8-4117-ABB2-A958CB4D56B0}"/>
              </a:ext>
            </a:extLst>
          </p:cNvPr>
          <p:cNvSpPr/>
          <p:nvPr/>
        </p:nvSpPr>
        <p:spPr>
          <a:xfrm>
            <a:off x="539414" y="333311"/>
            <a:ext cx="2664000" cy="21833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1400" b="1" dirty="0">
                <a:solidFill>
                  <a:schemeClr val="bg1">
                    <a:lumMod val="65000"/>
                  </a:schemeClr>
                </a:solidFill>
              </a:rPr>
              <a:t>Environnement de développement</a:t>
            </a:r>
          </a:p>
        </p:txBody>
      </p:sp>
      <p:sp>
        <p:nvSpPr>
          <p:cNvPr id="122" name="Rectangle 121">
            <a:extLst>
              <a:ext uri="{FF2B5EF4-FFF2-40B4-BE49-F238E27FC236}">
                <a16:creationId xmlns:a16="http://schemas.microsoft.com/office/drawing/2014/main" id="{9650371F-DC44-44DE-B565-1D054CCE0804}"/>
              </a:ext>
            </a:extLst>
          </p:cNvPr>
          <p:cNvSpPr/>
          <p:nvPr/>
        </p:nvSpPr>
        <p:spPr>
          <a:xfrm>
            <a:off x="9286070" y="6234433"/>
            <a:ext cx="1800000" cy="241661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>
                <a:lumMod val="9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1400" dirty="0">
                <a:solidFill>
                  <a:schemeClr val="bg1">
                    <a:lumMod val="65000"/>
                  </a:schemeClr>
                </a:solidFill>
              </a:rPr>
              <a:t>Enregistré dans GitHub</a:t>
            </a:r>
          </a:p>
        </p:txBody>
      </p:sp>
      <p:sp>
        <p:nvSpPr>
          <p:cNvPr id="123" name="Rectangle 122">
            <a:extLst>
              <a:ext uri="{FF2B5EF4-FFF2-40B4-BE49-F238E27FC236}">
                <a16:creationId xmlns:a16="http://schemas.microsoft.com/office/drawing/2014/main" id="{0454811C-DC26-4797-B5AF-86D919346AA1}"/>
              </a:ext>
            </a:extLst>
          </p:cNvPr>
          <p:cNvSpPr/>
          <p:nvPr/>
        </p:nvSpPr>
        <p:spPr>
          <a:xfrm>
            <a:off x="4511920" y="6081262"/>
            <a:ext cx="1905925" cy="23459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1400" dirty="0">
                <a:solidFill>
                  <a:schemeClr val="bg1">
                    <a:lumMod val="65000"/>
                  </a:schemeClr>
                </a:solidFill>
              </a:rPr>
              <a:t>Support de présentation</a:t>
            </a:r>
          </a:p>
        </p:txBody>
      </p:sp>
      <p:sp>
        <p:nvSpPr>
          <p:cNvPr id="124" name="Rectangle 123">
            <a:extLst>
              <a:ext uri="{FF2B5EF4-FFF2-40B4-BE49-F238E27FC236}">
                <a16:creationId xmlns:a16="http://schemas.microsoft.com/office/drawing/2014/main" id="{D36543C1-EC87-47E5-9B16-E8A418E1FFEE}"/>
              </a:ext>
            </a:extLst>
          </p:cNvPr>
          <p:cNvSpPr/>
          <p:nvPr/>
        </p:nvSpPr>
        <p:spPr>
          <a:xfrm>
            <a:off x="2121801" y="6075569"/>
            <a:ext cx="1756673" cy="23459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1400" dirty="0">
                <a:solidFill>
                  <a:schemeClr val="bg1">
                    <a:lumMod val="65000"/>
                  </a:schemeClr>
                </a:solidFill>
              </a:rPr>
              <a:t>Note méthodologique</a:t>
            </a:r>
          </a:p>
        </p:txBody>
      </p:sp>
      <p:sp>
        <p:nvSpPr>
          <p:cNvPr id="125" name="Rectangle 124">
            <a:extLst>
              <a:ext uri="{FF2B5EF4-FFF2-40B4-BE49-F238E27FC236}">
                <a16:creationId xmlns:a16="http://schemas.microsoft.com/office/drawing/2014/main" id="{D959D8C3-8860-46CE-BF25-E4EEDAB8F155}"/>
              </a:ext>
            </a:extLst>
          </p:cNvPr>
          <p:cNvSpPr/>
          <p:nvPr/>
        </p:nvSpPr>
        <p:spPr>
          <a:xfrm>
            <a:off x="513352" y="6004988"/>
            <a:ext cx="7370466" cy="380436"/>
          </a:xfrm>
          <a:prstGeom prst="rect">
            <a:avLst/>
          </a:prstGeom>
          <a:noFill/>
          <a:ln w="3810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126" name="Rectangle 125">
            <a:extLst>
              <a:ext uri="{FF2B5EF4-FFF2-40B4-BE49-F238E27FC236}">
                <a16:creationId xmlns:a16="http://schemas.microsoft.com/office/drawing/2014/main" id="{90AB004B-0817-460A-AF66-CBB9471C8AC0}"/>
              </a:ext>
            </a:extLst>
          </p:cNvPr>
          <p:cNvSpPr/>
          <p:nvPr/>
        </p:nvSpPr>
        <p:spPr>
          <a:xfrm>
            <a:off x="513352" y="5999836"/>
            <a:ext cx="972000" cy="21833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1400" b="1" dirty="0">
                <a:solidFill>
                  <a:schemeClr val="bg1">
                    <a:lumMod val="65000"/>
                  </a:schemeClr>
                </a:solidFill>
              </a:rPr>
              <a:t>Documents</a:t>
            </a:r>
          </a:p>
        </p:txBody>
      </p:sp>
      <p:sp>
        <p:nvSpPr>
          <p:cNvPr id="18" name="Rectangle : coins arrondis 17">
            <a:extLst>
              <a:ext uri="{FF2B5EF4-FFF2-40B4-BE49-F238E27FC236}">
                <a16:creationId xmlns:a16="http://schemas.microsoft.com/office/drawing/2014/main" id="{7A4709A0-649F-43F6-AD1A-20E87F4CBD0A}"/>
              </a:ext>
            </a:extLst>
          </p:cNvPr>
          <p:cNvSpPr/>
          <p:nvPr/>
        </p:nvSpPr>
        <p:spPr>
          <a:xfrm>
            <a:off x="7713426" y="3986477"/>
            <a:ext cx="357682" cy="218332"/>
          </a:xfrm>
          <a:prstGeom prst="roundRect">
            <a:avLst/>
          </a:prstGeom>
          <a:solidFill>
            <a:schemeClr val="bg1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1400" dirty="0">
                <a:solidFill>
                  <a:srgbClr val="2A0068"/>
                </a:solidFill>
              </a:rPr>
              <a:t>L.1.</a:t>
            </a:r>
          </a:p>
        </p:txBody>
      </p:sp>
      <p:cxnSp>
        <p:nvCxnSpPr>
          <p:cNvPr id="127" name="Connecteur droit avec flèche 126">
            <a:extLst>
              <a:ext uri="{FF2B5EF4-FFF2-40B4-BE49-F238E27FC236}">
                <a16:creationId xmlns:a16="http://schemas.microsoft.com/office/drawing/2014/main" id="{8F7AE775-FA32-4184-BBF6-F07E49C1C83B}"/>
              </a:ext>
            </a:extLst>
          </p:cNvPr>
          <p:cNvCxnSpPr>
            <a:cxnSpLocks/>
          </p:cNvCxnSpPr>
          <p:nvPr/>
        </p:nvCxnSpPr>
        <p:spPr>
          <a:xfrm flipV="1">
            <a:off x="5262271" y="955394"/>
            <a:ext cx="0" cy="926911"/>
          </a:xfrm>
          <a:prstGeom prst="straightConnector1">
            <a:avLst/>
          </a:prstGeom>
          <a:ln w="38100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Connecteur droit avec flèche 127">
            <a:extLst>
              <a:ext uri="{FF2B5EF4-FFF2-40B4-BE49-F238E27FC236}">
                <a16:creationId xmlns:a16="http://schemas.microsoft.com/office/drawing/2014/main" id="{E0BE0CD8-90CE-41BA-8006-F76063524AD4}"/>
              </a:ext>
            </a:extLst>
          </p:cNvPr>
          <p:cNvCxnSpPr>
            <a:cxnSpLocks/>
          </p:cNvCxnSpPr>
          <p:nvPr/>
        </p:nvCxnSpPr>
        <p:spPr>
          <a:xfrm flipV="1">
            <a:off x="8708497" y="932297"/>
            <a:ext cx="0" cy="720000"/>
          </a:xfrm>
          <a:prstGeom prst="straightConnector1">
            <a:avLst/>
          </a:prstGeom>
          <a:ln w="38100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Connecteur droit avec flèche 128">
            <a:extLst>
              <a:ext uri="{FF2B5EF4-FFF2-40B4-BE49-F238E27FC236}">
                <a16:creationId xmlns:a16="http://schemas.microsoft.com/office/drawing/2014/main" id="{90DDC296-99CD-40CE-A187-FCED047822DB}"/>
              </a:ext>
            </a:extLst>
          </p:cNvPr>
          <p:cNvCxnSpPr>
            <a:cxnSpLocks/>
          </p:cNvCxnSpPr>
          <p:nvPr/>
        </p:nvCxnSpPr>
        <p:spPr>
          <a:xfrm>
            <a:off x="9736282" y="927954"/>
            <a:ext cx="0" cy="720000"/>
          </a:xfrm>
          <a:prstGeom prst="straightConnector1">
            <a:avLst/>
          </a:prstGeom>
          <a:ln w="38100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Connecteur droit avec flèche 129">
            <a:extLst>
              <a:ext uri="{FF2B5EF4-FFF2-40B4-BE49-F238E27FC236}">
                <a16:creationId xmlns:a16="http://schemas.microsoft.com/office/drawing/2014/main" id="{4AF1FA30-1D89-498E-A366-EEBEBE268F61}"/>
              </a:ext>
            </a:extLst>
          </p:cNvPr>
          <p:cNvCxnSpPr>
            <a:cxnSpLocks/>
          </p:cNvCxnSpPr>
          <p:nvPr/>
        </p:nvCxnSpPr>
        <p:spPr>
          <a:xfrm>
            <a:off x="6160198" y="949240"/>
            <a:ext cx="0" cy="928800"/>
          </a:xfrm>
          <a:prstGeom prst="straightConnector1">
            <a:avLst/>
          </a:prstGeom>
          <a:ln w="38100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tangle 25">
            <a:extLst>
              <a:ext uri="{FF2B5EF4-FFF2-40B4-BE49-F238E27FC236}">
                <a16:creationId xmlns:a16="http://schemas.microsoft.com/office/drawing/2014/main" id="{6A4F731B-5C57-4ACC-97FD-DAE9F041398B}"/>
              </a:ext>
            </a:extLst>
          </p:cNvPr>
          <p:cNvSpPr/>
          <p:nvPr/>
        </p:nvSpPr>
        <p:spPr>
          <a:xfrm>
            <a:off x="4863400" y="1098709"/>
            <a:ext cx="5467148" cy="393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>
                <a:solidFill>
                  <a:schemeClr val="tx1"/>
                </a:solidFill>
                <a:highlight>
                  <a:srgbClr val="FFFF00"/>
                </a:highlight>
              </a:rPr>
              <a:t>Qu’est-ce qui renvoie quoi ici</a:t>
            </a:r>
          </a:p>
        </p:txBody>
      </p:sp>
      <p:cxnSp>
        <p:nvCxnSpPr>
          <p:cNvPr id="115" name="Connecteur droit avec flèche 114">
            <a:extLst>
              <a:ext uri="{FF2B5EF4-FFF2-40B4-BE49-F238E27FC236}">
                <a16:creationId xmlns:a16="http://schemas.microsoft.com/office/drawing/2014/main" id="{648AB0AC-ED74-4A60-B33F-5B80960E0EA1}"/>
              </a:ext>
            </a:extLst>
          </p:cNvPr>
          <p:cNvCxnSpPr>
            <a:cxnSpLocks/>
          </p:cNvCxnSpPr>
          <p:nvPr/>
        </p:nvCxnSpPr>
        <p:spPr>
          <a:xfrm>
            <a:off x="5691076" y="2896060"/>
            <a:ext cx="0" cy="756000"/>
          </a:xfrm>
          <a:prstGeom prst="straightConnector1">
            <a:avLst/>
          </a:prstGeom>
          <a:ln w="38100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Connecteur droit avec flèche 130">
            <a:extLst>
              <a:ext uri="{FF2B5EF4-FFF2-40B4-BE49-F238E27FC236}">
                <a16:creationId xmlns:a16="http://schemas.microsoft.com/office/drawing/2014/main" id="{D13F05D5-46A5-41AB-AACF-DF88900BA8A7}"/>
              </a:ext>
            </a:extLst>
          </p:cNvPr>
          <p:cNvCxnSpPr>
            <a:cxnSpLocks/>
          </p:cNvCxnSpPr>
          <p:nvPr/>
        </p:nvCxnSpPr>
        <p:spPr>
          <a:xfrm>
            <a:off x="9248125" y="3009101"/>
            <a:ext cx="0" cy="648000"/>
          </a:xfrm>
          <a:prstGeom prst="straightConnector1">
            <a:avLst/>
          </a:prstGeom>
          <a:ln w="38100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Rectangle 105">
            <a:extLst>
              <a:ext uri="{FF2B5EF4-FFF2-40B4-BE49-F238E27FC236}">
                <a16:creationId xmlns:a16="http://schemas.microsoft.com/office/drawing/2014/main" id="{37FDA21C-22D6-4553-810D-791B0C0D4847}"/>
              </a:ext>
            </a:extLst>
          </p:cNvPr>
          <p:cNvSpPr/>
          <p:nvPr/>
        </p:nvSpPr>
        <p:spPr>
          <a:xfrm>
            <a:off x="2167563" y="4459778"/>
            <a:ext cx="1378561" cy="1343682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 anchorCtr="0"/>
          <a:lstStyle/>
          <a:p>
            <a:pPr algn="ctr"/>
            <a:r>
              <a:rPr lang="fr-FR" sz="1400" b="1" dirty="0">
                <a:solidFill>
                  <a:schemeClr val="bg1">
                    <a:lumMod val="65000"/>
                  </a:schemeClr>
                </a:solidFill>
              </a:rPr>
              <a:t>Procfile</a:t>
            </a:r>
          </a:p>
          <a:p>
            <a:pPr algn="ctr"/>
            <a:endParaRPr lang="fr-FR" sz="1600" b="1" dirty="0">
              <a:solidFill>
                <a:schemeClr val="bg1">
                  <a:lumMod val="65000"/>
                </a:schemeClr>
              </a:solidFill>
            </a:endParaRPr>
          </a:p>
          <a:p>
            <a:pPr algn="ctr"/>
            <a:r>
              <a:rPr lang="fr-FR" sz="1200" i="1" dirty="0">
                <a:solidFill>
                  <a:schemeClr val="bg1">
                    <a:lumMod val="65000"/>
                  </a:schemeClr>
                </a:solidFill>
              </a:rPr>
              <a:t>Instructions à exécuter au démarrage de l’application qu’on lui désigne</a:t>
            </a:r>
            <a:endParaRPr lang="fr-FR" sz="1600" b="1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107" name="Rectangle 106">
            <a:extLst>
              <a:ext uri="{FF2B5EF4-FFF2-40B4-BE49-F238E27FC236}">
                <a16:creationId xmlns:a16="http://schemas.microsoft.com/office/drawing/2014/main" id="{E198ECAF-5A6A-4CBF-9F07-FC2D4722DE8D}"/>
              </a:ext>
            </a:extLst>
          </p:cNvPr>
          <p:cNvSpPr/>
          <p:nvPr/>
        </p:nvSpPr>
        <p:spPr>
          <a:xfrm>
            <a:off x="732803" y="4459818"/>
            <a:ext cx="1378561" cy="1343682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 anchorCtr="0"/>
          <a:lstStyle/>
          <a:p>
            <a:pPr algn="ctr"/>
            <a:r>
              <a:rPr lang="fr-FR" sz="1400" b="1" dirty="0">
                <a:solidFill>
                  <a:schemeClr val="bg1">
                    <a:lumMod val="65000"/>
                  </a:schemeClr>
                </a:solidFill>
              </a:rPr>
              <a:t>Requirements</a:t>
            </a:r>
          </a:p>
          <a:p>
            <a:pPr algn="ctr"/>
            <a:endParaRPr lang="fr-FR" sz="1200" i="1" dirty="0">
              <a:solidFill>
                <a:schemeClr val="bg1">
                  <a:lumMod val="65000"/>
                </a:schemeClr>
              </a:solidFill>
            </a:endParaRPr>
          </a:p>
          <a:p>
            <a:pPr algn="ctr"/>
            <a:r>
              <a:rPr lang="fr-FR" sz="1200" i="1" dirty="0">
                <a:solidFill>
                  <a:schemeClr val="bg1">
                    <a:lumMod val="65000"/>
                  </a:schemeClr>
                </a:solidFill>
              </a:rPr>
              <a:t>Liste des versions des librairies nécessaires au lancement de notre api et de notre dashboard</a:t>
            </a:r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362FE074-EAB6-486A-831E-316A81840031}"/>
              </a:ext>
            </a:extLst>
          </p:cNvPr>
          <p:cNvSpPr/>
          <p:nvPr/>
        </p:nvSpPr>
        <p:spPr>
          <a:xfrm>
            <a:off x="3596535" y="4458591"/>
            <a:ext cx="1494751" cy="1343682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 anchorCtr="0"/>
          <a:lstStyle/>
          <a:p>
            <a:pPr algn="ctr"/>
            <a:r>
              <a:rPr lang="fr-FR" sz="1400" b="1" dirty="0">
                <a:solidFill>
                  <a:schemeClr val="bg1">
                    <a:lumMod val="65000"/>
                  </a:schemeClr>
                </a:solidFill>
                <a:highlight>
                  <a:srgbClr val="FFFF00"/>
                </a:highlight>
              </a:rPr>
              <a:t>Run local api sh</a:t>
            </a:r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id="{4216969B-4242-4CC2-B88F-A51F3BBAEE10}"/>
              </a:ext>
            </a:extLst>
          </p:cNvPr>
          <p:cNvSpPr/>
          <p:nvPr/>
        </p:nvSpPr>
        <p:spPr>
          <a:xfrm>
            <a:off x="5150606" y="4459325"/>
            <a:ext cx="1044834" cy="1342948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 anchorCtr="0"/>
          <a:lstStyle/>
          <a:p>
            <a:pPr algn="ctr"/>
            <a:r>
              <a:rPr lang="fr-FR" sz="1400" b="1" dirty="0">
                <a:solidFill>
                  <a:schemeClr val="bg1">
                    <a:lumMod val="65000"/>
                  </a:schemeClr>
                </a:solidFill>
                <a:highlight>
                  <a:srgbClr val="FFFF00"/>
                </a:highlight>
              </a:rPr>
              <a:t>Start serveur.sh</a:t>
            </a: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C92B1937-46A0-425D-89A8-A8223E89F295}"/>
              </a:ext>
            </a:extLst>
          </p:cNvPr>
          <p:cNvSpPr/>
          <p:nvPr/>
        </p:nvSpPr>
        <p:spPr>
          <a:xfrm>
            <a:off x="6260550" y="4458763"/>
            <a:ext cx="802206" cy="1342948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 anchorCtr="0"/>
          <a:lstStyle/>
          <a:p>
            <a:pPr algn="ctr"/>
            <a:r>
              <a:rPr lang="fr-FR" sz="1400" b="1" dirty="0">
                <a:solidFill>
                  <a:schemeClr val="bg1">
                    <a:lumMod val="65000"/>
                  </a:schemeClr>
                </a:solidFill>
                <a:highlight>
                  <a:srgbClr val="FFFF00"/>
                </a:highlight>
              </a:rPr>
              <a:t>wsgi</a:t>
            </a:r>
          </a:p>
        </p:txBody>
      </p:sp>
      <p:cxnSp>
        <p:nvCxnSpPr>
          <p:cNvPr id="132" name="Connecteur droit avec flèche 131">
            <a:extLst>
              <a:ext uri="{FF2B5EF4-FFF2-40B4-BE49-F238E27FC236}">
                <a16:creationId xmlns:a16="http://schemas.microsoft.com/office/drawing/2014/main" id="{6DF23565-9B90-4A32-8DA8-3556340CA5F3}"/>
              </a:ext>
            </a:extLst>
          </p:cNvPr>
          <p:cNvCxnSpPr>
            <a:cxnSpLocks/>
          </p:cNvCxnSpPr>
          <p:nvPr/>
        </p:nvCxnSpPr>
        <p:spPr>
          <a:xfrm flipV="1">
            <a:off x="7370262" y="4300262"/>
            <a:ext cx="0" cy="936000"/>
          </a:xfrm>
          <a:prstGeom prst="straightConnector1">
            <a:avLst/>
          </a:prstGeom>
          <a:ln w="38100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lèche : courbe vers le bas 14">
            <a:extLst>
              <a:ext uri="{FF2B5EF4-FFF2-40B4-BE49-F238E27FC236}">
                <a16:creationId xmlns:a16="http://schemas.microsoft.com/office/drawing/2014/main" id="{EEE105A8-2926-4647-9133-33EF3489B166}"/>
              </a:ext>
            </a:extLst>
          </p:cNvPr>
          <p:cNvSpPr/>
          <p:nvPr/>
        </p:nvSpPr>
        <p:spPr>
          <a:xfrm rot="16200000" flipH="1" flipV="1">
            <a:off x="10112373" y="3219220"/>
            <a:ext cx="2582262" cy="971006"/>
          </a:xfrm>
          <a:prstGeom prst="curvedDownArrow">
            <a:avLst>
              <a:gd name="adj1" fmla="val 0"/>
              <a:gd name="adj2" fmla="val 12374"/>
              <a:gd name="adj3" fmla="val 12663"/>
            </a:avLst>
          </a:prstGeom>
          <a:gradFill>
            <a:gsLst>
              <a:gs pos="0">
                <a:srgbClr val="C00000"/>
              </a:gs>
              <a:gs pos="100000">
                <a:srgbClr val="2A0068"/>
              </a:gs>
            </a:gsLst>
            <a:lin ang="0" scaled="0"/>
          </a:gra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tx1"/>
              </a:solidFill>
            </a:endParaRP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684DCCE5-6F3E-4887-9B64-DDE9F69F537E}"/>
              </a:ext>
            </a:extLst>
          </p:cNvPr>
          <p:cNvSpPr/>
          <p:nvPr/>
        </p:nvSpPr>
        <p:spPr>
          <a:xfrm>
            <a:off x="11156096" y="3530005"/>
            <a:ext cx="1007390" cy="45448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 dirty="0">
                <a:solidFill>
                  <a:srgbClr val="2A0068"/>
                </a:solidFill>
              </a:rPr>
              <a:t>Mise en production</a:t>
            </a:r>
            <a:endParaRPr lang="fr-FR" sz="1400" dirty="0">
              <a:solidFill>
                <a:srgbClr val="2A0068"/>
              </a:solidFill>
            </a:endParaRPr>
          </a:p>
        </p:txBody>
      </p:sp>
      <p:sp>
        <p:nvSpPr>
          <p:cNvPr id="133" name="Rectangle : coins arrondis 132">
            <a:extLst>
              <a:ext uri="{FF2B5EF4-FFF2-40B4-BE49-F238E27FC236}">
                <a16:creationId xmlns:a16="http://schemas.microsoft.com/office/drawing/2014/main" id="{2E845DFE-2906-48C8-962D-269563BF1821}"/>
              </a:ext>
            </a:extLst>
          </p:cNvPr>
          <p:cNvSpPr/>
          <p:nvPr/>
        </p:nvSpPr>
        <p:spPr>
          <a:xfrm>
            <a:off x="3961144" y="3984489"/>
            <a:ext cx="357682" cy="218332"/>
          </a:xfrm>
          <a:prstGeom prst="roundRect">
            <a:avLst/>
          </a:prstGeom>
          <a:solidFill>
            <a:schemeClr val="bg1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1400" dirty="0">
                <a:solidFill>
                  <a:srgbClr val="2A0068"/>
                </a:solidFill>
              </a:rPr>
              <a:t>L.1.</a:t>
            </a:r>
          </a:p>
        </p:txBody>
      </p:sp>
      <p:sp>
        <p:nvSpPr>
          <p:cNvPr id="134" name="Rectangle : coins arrondis 133">
            <a:extLst>
              <a:ext uri="{FF2B5EF4-FFF2-40B4-BE49-F238E27FC236}">
                <a16:creationId xmlns:a16="http://schemas.microsoft.com/office/drawing/2014/main" id="{37EDC5CB-DDE2-4E7F-9FAC-CEEFDCFE9380}"/>
              </a:ext>
            </a:extLst>
          </p:cNvPr>
          <p:cNvSpPr/>
          <p:nvPr/>
        </p:nvSpPr>
        <p:spPr>
          <a:xfrm>
            <a:off x="11151592" y="6246580"/>
            <a:ext cx="357682" cy="218332"/>
          </a:xfrm>
          <a:prstGeom prst="roundRect">
            <a:avLst/>
          </a:prstGeom>
          <a:solidFill>
            <a:schemeClr val="bg1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1400" dirty="0">
                <a:solidFill>
                  <a:srgbClr val="2A0068"/>
                </a:solidFill>
              </a:rPr>
              <a:t>L.2.</a:t>
            </a:r>
          </a:p>
        </p:txBody>
      </p:sp>
      <p:sp>
        <p:nvSpPr>
          <p:cNvPr id="139" name="Rectangle : coins arrondis 138">
            <a:extLst>
              <a:ext uri="{FF2B5EF4-FFF2-40B4-BE49-F238E27FC236}">
                <a16:creationId xmlns:a16="http://schemas.microsoft.com/office/drawing/2014/main" id="{30CDED16-68AB-421E-A97F-144D8EF71E95}"/>
              </a:ext>
            </a:extLst>
          </p:cNvPr>
          <p:cNvSpPr/>
          <p:nvPr/>
        </p:nvSpPr>
        <p:spPr>
          <a:xfrm>
            <a:off x="1714019" y="6083701"/>
            <a:ext cx="357682" cy="218332"/>
          </a:xfrm>
          <a:prstGeom prst="roundRect">
            <a:avLst/>
          </a:prstGeom>
          <a:solidFill>
            <a:schemeClr val="bg1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1400" dirty="0">
                <a:solidFill>
                  <a:srgbClr val="2A0068"/>
                </a:solidFill>
              </a:rPr>
              <a:t>L.3.</a:t>
            </a:r>
          </a:p>
        </p:txBody>
      </p:sp>
      <p:sp>
        <p:nvSpPr>
          <p:cNvPr id="140" name="Rectangle : coins arrondis 139">
            <a:extLst>
              <a:ext uri="{FF2B5EF4-FFF2-40B4-BE49-F238E27FC236}">
                <a16:creationId xmlns:a16="http://schemas.microsoft.com/office/drawing/2014/main" id="{FF72C671-402D-4593-BD7A-821B6BE07DF1}"/>
              </a:ext>
            </a:extLst>
          </p:cNvPr>
          <p:cNvSpPr/>
          <p:nvPr/>
        </p:nvSpPr>
        <p:spPr>
          <a:xfrm>
            <a:off x="4091959" y="6097925"/>
            <a:ext cx="357682" cy="218332"/>
          </a:xfrm>
          <a:prstGeom prst="roundRect">
            <a:avLst/>
          </a:prstGeom>
          <a:solidFill>
            <a:schemeClr val="bg1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1400" dirty="0">
                <a:solidFill>
                  <a:srgbClr val="2A0068"/>
                </a:solidFill>
              </a:rPr>
              <a:t>L.4.</a:t>
            </a:r>
          </a:p>
        </p:txBody>
      </p:sp>
    </p:spTree>
    <p:extLst>
      <p:ext uri="{BB962C8B-B14F-4D97-AF65-F5344CB8AC3E}">
        <p14:creationId xmlns:p14="http://schemas.microsoft.com/office/powerpoint/2010/main" val="151176984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66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>
            <a:extLst>
              <a:ext uri="{FF2B5EF4-FFF2-40B4-BE49-F238E27FC236}">
                <a16:creationId xmlns:a16="http://schemas.microsoft.com/office/drawing/2014/main" id="{86A52CCD-9959-43E4-90E1-14C68071D2EF}"/>
              </a:ext>
            </a:extLst>
          </p:cNvPr>
          <p:cNvSpPr>
            <a:spLocks/>
          </p:cNvSpPr>
          <p:nvPr/>
        </p:nvSpPr>
        <p:spPr>
          <a:xfrm>
            <a:off x="-1546" y="0"/>
            <a:ext cx="12193545" cy="544108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sp>
        <p:nvSpPr>
          <p:cNvPr id="70" name="Oval 21">
            <a:extLst>
              <a:ext uri="{FF2B5EF4-FFF2-40B4-BE49-F238E27FC236}">
                <a16:creationId xmlns:a16="http://schemas.microsoft.com/office/drawing/2014/main" id="{21E00B41-C90D-4BDF-A077-C8F7B556C7BC}"/>
              </a:ext>
            </a:extLst>
          </p:cNvPr>
          <p:cNvSpPr>
            <a:spLocks/>
          </p:cNvSpPr>
          <p:nvPr/>
        </p:nvSpPr>
        <p:spPr>
          <a:xfrm>
            <a:off x="4891314" y="-223688"/>
            <a:ext cx="2409372" cy="1008000"/>
          </a:xfrm>
          <a:prstGeom prst="ellipse">
            <a:avLst/>
          </a:prstGeom>
          <a:solidFill>
            <a:srgbClr val="D7D8D7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solidFill>
                <a:srgbClr val="2A0068"/>
              </a:solidFill>
              <a:uFillTx/>
              <a:latin typeface="Baloo" panose="03080902040302020200" pitchFamily="66" charset="0"/>
              <a:cs typeface="Baloo" panose="03080902040302020200" pitchFamily="66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F990D0F-3A28-4858-B939-D0DB6600268A}"/>
              </a:ext>
            </a:extLst>
          </p:cNvPr>
          <p:cNvSpPr>
            <a:spLocks/>
          </p:cNvSpPr>
          <p:nvPr/>
        </p:nvSpPr>
        <p:spPr>
          <a:xfrm>
            <a:off x="4530058" y="-249582"/>
            <a:ext cx="3131884" cy="783727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cxnSp>
        <p:nvCxnSpPr>
          <p:cNvPr id="74" name="Straight Connector 36">
            <a:extLst>
              <a:ext uri="{FF2B5EF4-FFF2-40B4-BE49-F238E27FC236}">
                <a16:creationId xmlns:a16="http://schemas.microsoft.com/office/drawing/2014/main" id="{6AC8BA9A-5A95-442A-86B2-D6471C273567}"/>
              </a:ext>
            </a:extLst>
          </p:cNvPr>
          <p:cNvCxnSpPr/>
          <p:nvPr/>
        </p:nvCxnSpPr>
        <p:spPr>
          <a:xfrm>
            <a:off x="4696733" y="190333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36">
            <a:extLst>
              <a:ext uri="{FF2B5EF4-FFF2-40B4-BE49-F238E27FC236}">
                <a16:creationId xmlns:a16="http://schemas.microsoft.com/office/drawing/2014/main" id="{3F5750F7-3C85-48DA-BD57-0EB1C694D16F}"/>
              </a:ext>
            </a:extLst>
          </p:cNvPr>
          <p:cNvCxnSpPr/>
          <p:nvPr/>
        </p:nvCxnSpPr>
        <p:spPr>
          <a:xfrm>
            <a:off x="2028856" y="19759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26">
            <a:extLst>
              <a:ext uri="{FF2B5EF4-FFF2-40B4-BE49-F238E27FC236}">
                <a16:creationId xmlns:a16="http://schemas.microsoft.com/office/drawing/2014/main" id="{39F69F4E-3B4A-41B5-8C1D-64E9A4BC90EE}"/>
              </a:ext>
            </a:extLst>
          </p:cNvPr>
          <p:cNvSpPr txBox="1">
            <a:spLocks/>
          </p:cNvSpPr>
          <p:nvPr/>
        </p:nvSpPr>
        <p:spPr>
          <a:xfrm>
            <a:off x="7287" y="142281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TEXTE</a:t>
            </a:r>
          </a:p>
        </p:txBody>
      </p:sp>
      <p:sp>
        <p:nvSpPr>
          <p:cNvPr id="81" name="TextBox 26">
            <a:extLst>
              <a:ext uri="{FF2B5EF4-FFF2-40B4-BE49-F238E27FC236}">
                <a16:creationId xmlns:a16="http://schemas.microsoft.com/office/drawing/2014/main" id="{57D0B7C0-DC57-431F-8DD5-2F8B24747D09}"/>
              </a:ext>
            </a:extLst>
          </p:cNvPr>
          <p:cNvSpPr txBox="1">
            <a:spLocks/>
          </p:cNvSpPr>
          <p:nvPr/>
        </p:nvSpPr>
        <p:spPr>
          <a:xfrm>
            <a:off x="2059287" y="146805"/>
            <a:ext cx="2891751" cy="3059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MODÉLISATION</a:t>
            </a: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16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3" name="Image 2">
            <a:extLst>
              <a:ext uri="{FF2B5EF4-FFF2-40B4-BE49-F238E27FC236}">
                <a16:creationId xmlns:a16="http://schemas.microsoft.com/office/drawing/2014/main" id="{7A389926-05FB-4C34-A31D-E1334EF99F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8447" y="0"/>
            <a:ext cx="2524125" cy="495300"/>
          </a:xfrm>
          <a:prstGeom prst="rect">
            <a:avLst/>
          </a:prstGeom>
        </p:spPr>
      </p:pic>
      <p:cxnSp>
        <p:nvCxnSpPr>
          <p:cNvPr id="71" name="Straight Connector 22">
            <a:extLst>
              <a:ext uri="{FF2B5EF4-FFF2-40B4-BE49-F238E27FC236}">
                <a16:creationId xmlns:a16="http://schemas.microsoft.com/office/drawing/2014/main" id="{3E677F3D-C08E-49B3-BFF4-7E1553EE5144}"/>
              </a:ext>
            </a:extLst>
          </p:cNvPr>
          <p:cNvCxnSpPr>
            <a:cxnSpLocks/>
          </p:cNvCxnSpPr>
          <p:nvPr/>
        </p:nvCxnSpPr>
        <p:spPr>
          <a:xfrm>
            <a:off x="-21590" y="548496"/>
            <a:ext cx="5117779" cy="14365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B3E40F35-6F18-4795-94D0-0D751C6B0722}"/>
              </a:ext>
            </a:extLst>
          </p:cNvPr>
          <p:cNvSpPr/>
          <p:nvPr/>
        </p:nvSpPr>
        <p:spPr>
          <a:xfrm>
            <a:off x="368509" y="3159770"/>
            <a:ext cx="11484000" cy="830997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fr-FR" sz="4800" b="1" dirty="0">
                <a:solidFill>
                  <a:srgbClr val="2A0068"/>
                </a:solidFill>
              </a:rPr>
              <a:t>Présentation du dashboard réalisé</a:t>
            </a:r>
          </a:p>
        </p:txBody>
      </p:sp>
      <p:sp>
        <p:nvSpPr>
          <p:cNvPr id="40" name="TextBox 26">
            <a:extLst>
              <a:ext uri="{FF2B5EF4-FFF2-40B4-BE49-F238E27FC236}">
                <a16:creationId xmlns:a16="http://schemas.microsoft.com/office/drawing/2014/main" id="{7F06B964-FE45-44D1-A532-BC3FA2FDC537}"/>
              </a:ext>
            </a:extLst>
          </p:cNvPr>
          <p:cNvSpPr txBox="1">
            <a:spLocks/>
          </p:cNvSpPr>
          <p:nvPr/>
        </p:nvSpPr>
        <p:spPr>
          <a:xfrm>
            <a:off x="7424298" y="146062"/>
            <a:ext cx="2664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rgbClr val="2A0068"/>
                </a:solidFill>
                <a:latin typeface="Trebuchet MS" panose="020B0603020202020204" pitchFamily="34" charset="0"/>
              </a:rPr>
              <a:t>DASHBOARD</a:t>
            </a:r>
          </a:p>
        </p:txBody>
      </p:sp>
      <p:cxnSp>
        <p:nvCxnSpPr>
          <p:cNvPr id="41" name="Straight Connector 36">
            <a:extLst>
              <a:ext uri="{FF2B5EF4-FFF2-40B4-BE49-F238E27FC236}">
                <a16:creationId xmlns:a16="http://schemas.microsoft.com/office/drawing/2014/main" id="{00C750FE-B05E-4CEA-853A-6B0B947ECC04}"/>
              </a:ext>
            </a:extLst>
          </p:cNvPr>
          <p:cNvCxnSpPr/>
          <p:nvPr/>
        </p:nvCxnSpPr>
        <p:spPr>
          <a:xfrm>
            <a:off x="7536962" y="199069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Box 26">
            <a:extLst>
              <a:ext uri="{FF2B5EF4-FFF2-40B4-BE49-F238E27FC236}">
                <a16:creationId xmlns:a16="http://schemas.microsoft.com/office/drawing/2014/main" id="{FE588524-D155-4A00-A514-94869C5E5025}"/>
              </a:ext>
            </a:extLst>
          </p:cNvPr>
          <p:cNvSpPr txBox="1">
            <a:spLocks/>
          </p:cNvSpPr>
          <p:nvPr/>
        </p:nvSpPr>
        <p:spPr>
          <a:xfrm>
            <a:off x="10103603" y="144968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CLUSION / Q&amp;A</a:t>
            </a:r>
          </a:p>
        </p:txBody>
      </p:sp>
      <p:cxnSp>
        <p:nvCxnSpPr>
          <p:cNvPr id="43" name="Straight Connector 36">
            <a:extLst>
              <a:ext uri="{FF2B5EF4-FFF2-40B4-BE49-F238E27FC236}">
                <a16:creationId xmlns:a16="http://schemas.microsoft.com/office/drawing/2014/main" id="{7718A675-293C-49B9-8796-EB7B4B00B458}"/>
              </a:ext>
            </a:extLst>
          </p:cNvPr>
          <p:cNvCxnSpPr/>
          <p:nvPr/>
        </p:nvCxnSpPr>
        <p:spPr>
          <a:xfrm>
            <a:off x="10081246" y="19745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23">
            <a:extLst>
              <a:ext uri="{FF2B5EF4-FFF2-40B4-BE49-F238E27FC236}">
                <a16:creationId xmlns:a16="http://schemas.microsoft.com/office/drawing/2014/main" id="{BF677A9E-33AD-4749-AA81-4DFE76D51288}"/>
              </a:ext>
            </a:extLst>
          </p:cNvPr>
          <p:cNvCxnSpPr>
            <a:cxnSpLocks/>
          </p:cNvCxnSpPr>
          <p:nvPr/>
        </p:nvCxnSpPr>
        <p:spPr>
          <a:xfrm flipV="1">
            <a:off x="7103948" y="540993"/>
            <a:ext cx="5118532" cy="11708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7736747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274000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34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5FB2769F-594F-433F-A363-4009F6BE7A21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D1117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8D5185E-1FFB-4AC8-8C3E-D66A242FFBD9}"/>
              </a:ext>
            </a:extLst>
          </p:cNvPr>
          <p:cNvSpPr/>
          <p:nvPr/>
        </p:nvSpPr>
        <p:spPr>
          <a:xfrm>
            <a:off x="12700" y="26634"/>
            <a:ext cx="2376000" cy="6858000"/>
          </a:xfrm>
          <a:prstGeom prst="rect">
            <a:avLst/>
          </a:prstGeom>
          <a:solidFill>
            <a:srgbClr val="2627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1CD00AD7-E586-489F-8CCC-9E6704EC2C7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567001"/>
            <a:ext cx="12204000" cy="5711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912598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405877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58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5FB2769F-594F-433F-A363-4009F6BE7A21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D1117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EE8DC0B-F961-4AF2-B6F3-95AF3811AC7C}"/>
              </a:ext>
            </a:extLst>
          </p:cNvPr>
          <p:cNvSpPr/>
          <p:nvPr/>
        </p:nvSpPr>
        <p:spPr>
          <a:xfrm>
            <a:off x="12700" y="26634"/>
            <a:ext cx="2376000" cy="6858000"/>
          </a:xfrm>
          <a:prstGeom prst="rect">
            <a:avLst/>
          </a:prstGeom>
          <a:solidFill>
            <a:srgbClr val="2627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726D44A8-83B5-414E-8B3E-38DC3E7783C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5088" y="21805"/>
            <a:ext cx="12141824" cy="5581937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DC3338DA-8E08-47D3-8D20-B1801CFF6D7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590621" y="3561571"/>
            <a:ext cx="8770130" cy="3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362701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82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5FB2769F-594F-433F-A363-4009F6BE7A21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D1117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EE8DC0B-F961-4AF2-B6F3-95AF3811AC7C}"/>
              </a:ext>
            </a:extLst>
          </p:cNvPr>
          <p:cNvSpPr/>
          <p:nvPr/>
        </p:nvSpPr>
        <p:spPr>
          <a:xfrm>
            <a:off x="12700" y="26634"/>
            <a:ext cx="2376000" cy="6858000"/>
          </a:xfrm>
          <a:prstGeom prst="rect">
            <a:avLst/>
          </a:prstGeom>
          <a:solidFill>
            <a:srgbClr val="2627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7172219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e 5">
            <a:extLst>
              <a:ext uri="{FF2B5EF4-FFF2-40B4-BE49-F238E27FC236}">
                <a16:creationId xmlns:a16="http://schemas.microsoft.com/office/drawing/2014/main" id="{B8964874-327F-415D-BCAE-3A167C8BC0AA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50285A52-EBC7-4325-95F2-3CD6F0B9EC9E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2" name="Espace réservé du numéro de diapositive 3">
              <a:extLst>
                <a:ext uri="{FF2B5EF4-FFF2-40B4-BE49-F238E27FC236}">
                  <a16:creationId xmlns:a16="http://schemas.microsoft.com/office/drawing/2014/main" id="{14D3F94D-769D-443D-A48E-6E029FEB1FC1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2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5" name="Triangle rectangle 4">
              <a:extLst>
                <a:ext uri="{FF2B5EF4-FFF2-40B4-BE49-F238E27FC236}">
                  <a16:creationId xmlns:a16="http://schemas.microsoft.com/office/drawing/2014/main" id="{03DF2BB4-920B-4810-8B93-7B3EE0002E21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D63CFF04-09DC-4F80-A6EC-5C3C746635FD}"/>
              </a:ext>
            </a:extLst>
          </p:cNvPr>
          <p:cNvSpPr/>
          <p:nvPr/>
        </p:nvSpPr>
        <p:spPr>
          <a:xfrm>
            <a:off x="0" y="0"/>
            <a:ext cx="3384645" cy="6848190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800" b="1" cap="all" dirty="0">
                <a:ln w="22225">
                  <a:solidFill>
                    <a:schemeClr val="bg1"/>
                  </a:solidFill>
                  <a:prstDash val="solid"/>
                </a:ln>
                <a:solidFill>
                  <a:schemeClr val="bg1"/>
                </a:solidFill>
              </a:rPr>
              <a:t>Sommaire</a:t>
            </a:r>
          </a:p>
        </p:txBody>
      </p:sp>
      <p:cxnSp>
        <p:nvCxnSpPr>
          <p:cNvPr id="10" name="Connecteur droit 9">
            <a:extLst>
              <a:ext uri="{FF2B5EF4-FFF2-40B4-BE49-F238E27FC236}">
                <a16:creationId xmlns:a16="http://schemas.microsoft.com/office/drawing/2014/main" id="{0BE8B4E1-0B91-4CF5-BC1C-EBE21E7305A1}"/>
              </a:ext>
            </a:extLst>
          </p:cNvPr>
          <p:cNvCxnSpPr>
            <a:cxnSpLocks/>
          </p:cNvCxnSpPr>
          <p:nvPr/>
        </p:nvCxnSpPr>
        <p:spPr>
          <a:xfrm>
            <a:off x="4384035" y="-3838"/>
            <a:ext cx="0" cy="6876000"/>
          </a:xfrm>
          <a:prstGeom prst="line">
            <a:avLst/>
          </a:prstGeom>
          <a:ln w="28575">
            <a:gradFill>
              <a:gsLst>
                <a:gs pos="0">
                  <a:srgbClr val="9966FF"/>
                </a:gs>
                <a:gs pos="74000">
                  <a:srgbClr val="6600FF"/>
                </a:gs>
                <a:gs pos="83000">
                  <a:srgbClr val="6600FF"/>
                </a:gs>
                <a:gs pos="100000">
                  <a:srgbClr val="2A0068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>
            <a:extLst>
              <a:ext uri="{FF2B5EF4-FFF2-40B4-BE49-F238E27FC236}">
                <a16:creationId xmlns:a16="http://schemas.microsoft.com/office/drawing/2014/main" id="{20E9F9A3-9796-4DDD-BF59-5F7FC710B737}"/>
              </a:ext>
            </a:extLst>
          </p:cNvPr>
          <p:cNvSpPr/>
          <p:nvPr/>
        </p:nvSpPr>
        <p:spPr>
          <a:xfrm>
            <a:off x="3934035" y="860347"/>
            <a:ext cx="900000" cy="280717"/>
          </a:xfrm>
          <a:prstGeom prst="rect">
            <a:avLst/>
          </a:prstGeom>
          <a:solidFill>
            <a:srgbClr val="9966FF"/>
          </a:solidFill>
          <a:ln>
            <a:solidFill>
              <a:srgbClr val="99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0" rtlCol="0" anchor="ctr"/>
          <a:lstStyle/>
          <a:p>
            <a:pPr algn="ctr"/>
            <a:r>
              <a:rPr lang="fr-FR" dirty="0">
                <a:latin typeface="Baloo" panose="03080902040302020200" pitchFamily="66" charset="0"/>
                <a:cs typeface="Baloo" panose="03080902040302020200" pitchFamily="66" charset="0"/>
              </a:rPr>
              <a:t>Projet 1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B1F0383-ADD7-447B-A60D-51377F241CCE}"/>
              </a:ext>
            </a:extLst>
          </p:cNvPr>
          <p:cNvSpPr/>
          <p:nvPr/>
        </p:nvSpPr>
        <p:spPr>
          <a:xfrm>
            <a:off x="3934035" y="3725371"/>
            <a:ext cx="900000" cy="280717"/>
          </a:xfrm>
          <a:prstGeom prst="rect">
            <a:avLst/>
          </a:prstGeom>
          <a:solidFill>
            <a:srgbClr val="4600AC"/>
          </a:solidFill>
          <a:ln>
            <a:solidFill>
              <a:srgbClr val="4600A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0" rtlCol="0" anchor="ctr"/>
          <a:lstStyle/>
          <a:p>
            <a:pPr algn="ctr"/>
            <a:r>
              <a:rPr lang="fr-FR" dirty="0">
                <a:latin typeface="Baloo" panose="03080902040302020200" pitchFamily="66" charset="0"/>
                <a:cs typeface="Baloo" panose="03080902040302020200" pitchFamily="66" charset="0"/>
              </a:rPr>
              <a:t>Projet 5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E128558-D9FF-4C25-931E-0021BED6E3A0}"/>
              </a:ext>
            </a:extLst>
          </p:cNvPr>
          <p:cNvSpPr/>
          <p:nvPr/>
        </p:nvSpPr>
        <p:spPr>
          <a:xfrm>
            <a:off x="3934035" y="2292859"/>
            <a:ext cx="900000" cy="280717"/>
          </a:xfrm>
          <a:prstGeom prst="rect">
            <a:avLst/>
          </a:prstGeom>
          <a:solidFill>
            <a:srgbClr val="6400F6"/>
          </a:solidFill>
          <a:ln>
            <a:solidFill>
              <a:srgbClr val="6400F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0" rtlCol="0" anchor="ctr"/>
          <a:lstStyle/>
          <a:p>
            <a:pPr algn="ctr"/>
            <a:r>
              <a:rPr lang="fr-FR" dirty="0">
                <a:latin typeface="Baloo" panose="03080902040302020200" pitchFamily="66" charset="0"/>
                <a:cs typeface="Baloo" panose="03080902040302020200" pitchFamily="66" charset="0"/>
              </a:rPr>
              <a:t>Projet 3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4B530ECB-57EA-4F46-9DC9-4440579A2186}"/>
              </a:ext>
            </a:extLst>
          </p:cNvPr>
          <p:cNvSpPr/>
          <p:nvPr/>
        </p:nvSpPr>
        <p:spPr>
          <a:xfrm>
            <a:off x="3934035" y="5157883"/>
            <a:ext cx="900000" cy="280717"/>
          </a:xfrm>
          <a:prstGeom prst="rect">
            <a:avLst/>
          </a:prstGeom>
          <a:solidFill>
            <a:srgbClr val="300076"/>
          </a:solidFill>
          <a:ln>
            <a:solidFill>
              <a:srgbClr val="30007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0" rtlCol="0" anchor="ctr"/>
          <a:lstStyle/>
          <a:p>
            <a:pPr algn="ctr"/>
            <a:r>
              <a:rPr lang="fr-FR" dirty="0">
                <a:latin typeface="Baloo" panose="03080902040302020200" pitchFamily="66" charset="0"/>
                <a:cs typeface="Baloo" panose="03080902040302020200" pitchFamily="66" charset="0"/>
              </a:rPr>
              <a:t>Projet 7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7D27756-AE21-4125-A8EA-8C3C18D4D209}"/>
              </a:ext>
            </a:extLst>
          </p:cNvPr>
          <p:cNvSpPr/>
          <p:nvPr/>
        </p:nvSpPr>
        <p:spPr>
          <a:xfrm>
            <a:off x="3934035" y="1591988"/>
            <a:ext cx="900000" cy="280717"/>
          </a:xfrm>
          <a:prstGeom prst="rect">
            <a:avLst/>
          </a:prstGeom>
          <a:solidFill>
            <a:srgbClr val="8837FF"/>
          </a:solidFill>
          <a:ln>
            <a:solidFill>
              <a:srgbClr val="8837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0" rtlCol="0" anchor="ctr"/>
          <a:lstStyle/>
          <a:p>
            <a:pPr algn="ctr"/>
            <a:r>
              <a:rPr lang="fr-FR" dirty="0">
                <a:latin typeface="Baloo" panose="03080902040302020200" pitchFamily="66" charset="0"/>
                <a:cs typeface="Baloo" panose="03080902040302020200" pitchFamily="66" charset="0"/>
              </a:rPr>
              <a:t>Projet 2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FDB1B993-BF7A-4B50-8507-3AB49685A983}"/>
              </a:ext>
            </a:extLst>
          </p:cNvPr>
          <p:cNvSpPr/>
          <p:nvPr/>
        </p:nvSpPr>
        <p:spPr>
          <a:xfrm>
            <a:off x="3934035" y="2993730"/>
            <a:ext cx="900000" cy="280717"/>
          </a:xfrm>
          <a:prstGeom prst="rect">
            <a:avLst/>
          </a:prstGeom>
          <a:solidFill>
            <a:srgbClr val="5A00DE"/>
          </a:solidFill>
          <a:ln>
            <a:solidFill>
              <a:srgbClr val="5A00D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0" rtlCol="0" anchor="ctr"/>
          <a:lstStyle/>
          <a:p>
            <a:pPr algn="ctr"/>
            <a:r>
              <a:rPr lang="fr-FR" dirty="0">
                <a:latin typeface="Baloo" panose="03080902040302020200" pitchFamily="66" charset="0"/>
                <a:cs typeface="Baloo" panose="03080902040302020200" pitchFamily="66" charset="0"/>
              </a:rPr>
              <a:t>Projet 4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3A1CBCD-CD57-4624-BDB7-05547CADEC85}"/>
              </a:ext>
            </a:extLst>
          </p:cNvPr>
          <p:cNvSpPr/>
          <p:nvPr/>
        </p:nvSpPr>
        <p:spPr>
          <a:xfrm>
            <a:off x="3934035" y="4457012"/>
            <a:ext cx="900000" cy="280717"/>
          </a:xfrm>
          <a:prstGeom prst="rect">
            <a:avLst/>
          </a:prstGeom>
          <a:solidFill>
            <a:srgbClr val="4400A8"/>
          </a:solidFill>
          <a:ln>
            <a:solidFill>
              <a:srgbClr val="4400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0" rtlCol="0" anchor="ctr"/>
          <a:lstStyle/>
          <a:p>
            <a:pPr algn="ctr"/>
            <a:r>
              <a:rPr lang="fr-FR" dirty="0">
                <a:latin typeface="Baloo" panose="03080902040302020200" pitchFamily="66" charset="0"/>
                <a:cs typeface="Baloo" panose="03080902040302020200" pitchFamily="66" charset="0"/>
              </a:rPr>
              <a:t>Projet 6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D469C91-7881-4349-9955-49BCB04892E4}"/>
              </a:ext>
            </a:extLst>
          </p:cNvPr>
          <p:cNvSpPr/>
          <p:nvPr/>
        </p:nvSpPr>
        <p:spPr>
          <a:xfrm>
            <a:off x="3934035" y="5858754"/>
            <a:ext cx="900000" cy="280717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0" rtlCol="0" anchor="ctr"/>
          <a:lstStyle/>
          <a:p>
            <a:pPr algn="ctr"/>
            <a:r>
              <a:rPr lang="fr-FR" dirty="0">
                <a:latin typeface="Baloo" panose="03080902040302020200" pitchFamily="66" charset="0"/>
                <a:cs typeface="Baloo" panose="03080902040302020200" pitchFamily="66" charset="0"/>
              </a:rPr>
              <a:t>Projet 8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B6E461C3-2E08-4C07-96D7-053DCE361D44}"/>
              </a:ext>
            </a:extLst>
          </p:cNvPr>
          <p:cNvSpPr/>
          <p:nvPr/>
        </p:nvSpPr>
        <p:spPr>
          <a:xfrm>
            <a:off x="4943217" y="795988"/>
            <a:ext cx="4080679" cy="40943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dirty="0">
                <a:solidFill>
                  <a:srgbClr val="2A0068"/>
                </a:solidFill>
              </a:rPr>
              <a:t>DÉFINIR une </a:t>
            </a:r>
            <a:r>
              <a:rPr lang="fr-FR" b="1" dirty="0">
                <a:solidFill>
                  <a:srgbClr val="2A0068"/>
                </a:solidFill>
              </a:rPr>
              <a:t>stratégie d’apprentissage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71E2203D-7DAD-4EE7-B874-340036DB79C4}"/>
              </a:ext>
            </a:extLst>
          </p:cNvPr>
          <p:cNvSpPr/>
          <p:nvPr/>
        </p:nvSpPr>
        <p:spPr>
          <a:xfrm>
            <a:off x="4943215" y="1527629"/>
            <a:ext cx="4716000" cy="409433"/>
          </a:xfrm>
          <a:prstGeom prst="rect">
            <a:avLst/>
          </a:prstGeom>
          <a:solidFill>
            <a:schemeClr val="bg1"/>
          </a:solidFill>
          <a:ln>
            <a:noFill/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dirty="0">
                <a:solidFill>
                  <a:srgbClr val="2A0068"/>
                </a:solidFill>
              </a:rPr>
              <a:t>ANALYSER des </a:t>
            </a:r>
            <a:r>
              <a:rPr lang="fr-FR" b="1" dirty="0">
                <a:solidFill>
                  <a:srgbClr val="2A0068"/>
                </a:solidFill>
              </a:rPr>
              <a:t>données</a:t>
            </a:r>
            <a:r>
              <a:rPr lang="fr-FR" dirty="0">
                <a:solidFill>
                  <a:srgbClr val="2A0068"/>
                </a:solidFill>
              </a:rPr>
              <a:t> de </a:t>
            </a:r>
            <a:r>
              <a:rPr lang="fr-FR" b="1" dirty="0">
                <a:solidFill>
                  <a:srgbClr val="2A0068"/>
                </a:solidFill>
              </a:rPr>
              <a:t>systèmes éducatifs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C4ABDD1E-733C-4EE1-AF8B-6C9296DFE0B9}"/>
              </a:ext>
            </a:extLst>
          </p:cNvPr>
          <p:cNvSpPr/>
          <p:nvPr/>
        </p:nvSpPr>
        <p:spPr>
          <a:xfrm>
            <a:off x="4943215" y="2225500"/>
            <a:ext cx="6120000" cy="409433"/>
          </a:xfrm>
          <a:prstGeom prst="rect">
            <a:avLst/>
          </a:prstGeom>
          <a:solidFill>
            <a:schemeClr val="bg1"/>
          </a:solidFill>
          <a:ln>
            <a:noFill/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dirty="0">
                <a:solidFill>
                  <a:srgbClr val="2A0068"/>
                </a:solidFill>
              </a:rPr>
              <a:t>CONCEVOIR une </a:t>
            </a:r>
            <a:r>
              <a:rPr lang="fr-FR" b="1" dirty="0">
                <a:solidFill>
                  <a:srgbClr val="2A0068"/>
                </a:solidFill>
              </a:rPr>
              <a:t>application</a:t>
            </a:r>
            <a:r>
              <a:rPr lang="fr-FR" dirty="0">
                <a:solidFill>
                  <a:srgbClr val="2A0068"/>
                </a:solidFill>
              </a:rPr>
              <a:t> au service de la </a:t>
            </a:r>
            <a:r>
              <a:rPr lang="fr-FR" b="1" dirty="0">
                <a:solidFill>
                  <a:srgbClr val="2A0068"/>
                </a:solidFill>
              </a:rPr>
              <a:t>santé publique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BFAA81C-F595-4F97-B686-1582BFCBBDAF}"/>
              </a:ext>
            </a:extLst>
          </p:cNvPr>
          <p:cNvSpPr/>
          <p:nvPr/>
        </p:nvSpPr>
        <p:spPr>
          <a:xfrm>
            <a:off x="4938666" y="2929371"/>
            <a:ext cx="6228000" cy="409433"/>
          </a:xfrm>
          <a:prstGeom prst="rect">
            <a:avLst/>
          </a:prstGeom>
          <a:solidFill>
            <a:schemeClr val="bg1"/>
          </a:solidFill>
          <a:ln>
            <a:noFill/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dirty="0">
                <a:solidFill>
                  <a:srgbClr val="2A0068"/>
                </a:solidFill>
              </a:rPr>
              <a:t>ANTICIPER les </a:t>
            </a:r>
            <a:r>
              <a:rPr lang="fr-FR" b="1" dirty="0">
                <a:solidFill>
                  <a:srgbClr val="2A0068"/>
                </a:solidFill>
              </a:rPr>
              <a:t>besoins en consommation électrique </a:t>
            </a:r>
            <a:r>
              <a:rPr lang="fr-FR" dirty="0">
                <a:solidFill>
                  <a:srgbClr val="2A0068"/>
                </a:solidFill>
              </a:rPr>
              <a:t>de bâtiments</a:t>
            </a:r>
            <a:endParaRPr lang="fr-FR" b="1" dirty="0">
              <a:solidFill>
                <a:srgbClr val="2A0068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A637E5B0-A7FC-4C08-96F8-5824C9531136}"/>
              </a:ext>
            </a:extLst>
          </p:cNvPr>
          <p:cNvSpPr/>
          <p:nvPr/>
        </p:nvSpPr>
        <p:spPr>
          <a:xfrm>
            <a:off x="4938666" y="3661012"/>
            <a:ext cx="6228000" cy="409433"/>
          </a:xfrm>
          <a:prstGeom prst="rect">
            <a:avLst/>
          </a:prstGeom>
          <a:solidFill>
            <a:schemeClr val="bg1"/>
          </a:solidFill>
          <a:ln>
            <a:noFill/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dirty="0">
                <a:solidFill>
                  <a:srgbClr val="2A0068"/>
                </a:solidFill>
              </a:rPr>
              <a:t>SEGMENTER des </a:t>
            </a:r>
            <a:r>
              <a:rPr lang="fr-FR" b="1" dirty="0">
                <a:solidFill>
                  <a:srgbClr val="2A0068"/>
                </a:solidFill>
              </a:rPr>
              <a:t>clients </a:t>
            </a:r>
            <a:r>
              <a:rPr lang="fr-FR" dirty="0">
                <a:solidFill>
                  <a:srgbClr val="2A0068"/>
                </a:solidFill>
              </a:rPr>
              <a:t>d’un </a:t>
            </a:r>
            <a:r>
              <a:rPr lang="fr-FR" b="1" dirty="0">
                <a:solidFill>
                  <a:srgbClr val="2A0068"/>
                </a:solidFill>
              </a:rPr>
              <a:t>site e-commerce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8CFBC0AB-5735-42AD-8547-CCC38B49982F}"/>
              </a:ext>
            </a:extLst>
          </p:cNvPr>
          <p:cNvSpPr/>
          <p:nvPr/>
        </p:nvSpPr>
        <p:spPr>
          <a:xfrm>
            <a:off x="4938666" y="4392653"/>
            <a:ext cx="6228000" cy="409433"/>
          </a:xfrm>
          <a:prstGeom prst="rect">
            <a:avLst/>
          </a:prstGeom>
          <a:solidFill>
            <a:schemeClr val="bg1"/>
          </a:solidFill>
          <a:ln>
            <a:noFill/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dirty="0">
                <a:solidFill>
                  <a:srgbClr val="2A0068"/>
                </a:solidFill>
              </a:rPr>
              <a:t>CLASSIFIER automatiquement des </a:t>
            </a:r>
            <a:r>
              <a:rPr lang="fr-FR" b="1" dirty="0">
                <a:solidFill>
                  <a:srgbClr val="2A0068"/>
                </a:solidFill>
              </a:rPr>
              <a:t>biens de consommation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A759EC53-FEE6-4AA2-B2C6-5D708D501187}"/>
              </a:ext>
            </a:extLst>
          </p:cNvPr>
          <p:cNvSpPr/>
          <p:nvPr/>
        </p:nvSpPr>
        <p:spPr>
          <a:xfrm>
            <a:off x="4943215" y="5093524"/>
            <a:ext cx="6228000" cy="409433"/>
          </a:xfrm>
          <a:prstGeom prst="rect">
            <a:avLst/>
          </a:prstGeom>
          <a:solidFill>
            <a:schemeClr val="bg1"/>
          </a:solidFill>
          <a:ln>
            <a:solidFill>
              <a:srgbClr val="4600AC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dirty="0">
                <a:solidFill>
                  <a:srgbClr val="2A0068"/>
                </a:solidFill>
              </a:rPr>
              <a:t>IMPLÉMENTER un </a:t>
            </a:r>
            <a:r>
              <a:rPr lang="fr-FR" b="1" dirty="0">
                <a:solidFill>
                  <a:srgbClr val="2A0068"/>
                </a:solidFill>
              </a:rPr>
              <a:t>modèle de scoring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2D02D1DA-C909-4DDF-8FBB-F6E950CB2692}"/>
              </a:ext>
            </a:extLst>
          </p:cNvPr>
          <p:cNvSpPr/>
          <p:nvPr/>
        </p:nvSpPr>
        <p:spPr>
          <a:xfrm>
            <a:off x="4988123" y="5794395"/>
            <a:ext cx="6228000" cy="40943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dirty="0">
                <a:solidFill>
                  <a:srgbClr val="2A0068"/>
                </a:solidFill>
              </a:rPr>
              <a:t>DÉPLOYER un modèle dans le </a:t>
            </a:r>
            <a:r>
              <a:rPr lang="fr-FR" b="1" dirty="0">
                <a:solidFill>
                  <a:srgbClr val="2A0068"/>
                </a:solidFill>
              </a:rPr>
              <a:t>cloud</a:t>
            </a:r>
          </a:p>
        </p:txBody>
      </p:sp>
    </p:spTree>
    <p:extLst>
      <p:ext uri="{BB962C8B-B14F-4D97-AF65-F5344CB8AC3E}">
        <p14:creationId xmlns:p14="http://schemas.microsoft.com/office/powerpoint/2010/main" val="201177241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06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5FB2769F-594F-433F-A363-4009F6BE7A21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D1117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EE8DC0B-F961-4AF2-B6F3-95AF3811AC7C}"/>
              </a:ext>
            </a:extLst>
          </p:cNvPr>
          <p:cNvSpPr/>
          <p:nvPr/>
        </p:nvSpPr>
        <p:spPr>
          <a:xfrm>
            <a:off x="12700" y="26634"/>
            <a:ext cx="2376000" cy="6858000"/>
          </a:xfrm>
          <a:prstGeom prst="rect">
            <a:avLst/>
          </a:prstGeom>
          <a:solidFill>
            <a:srgbClr val="2627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726D44A8-83B5-414E-8B3E-38DC3E7783C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5088" y="21805"/>
            <a:ext cx="12141824" cy="5581937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DC3338DA-8E08-47D3-8D20-B1801CFF6D7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590621" y="3561571"/>
            <a:ext cx="8770130" cy="3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427914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21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2A64376D-B03F-430E-AB31-F93C3268EA01}"/>
              </a:ext>
            </a:extLst>
          </p:cNvPr>
          <p:cNvSpPr/>
          <p:nvPr/>
        </p:nvSpPr>
        <p:spPr>
          <a:xfrm>
            <a:off x="-101600" y="-10160"/>
            <a:ext cx="12293600" cy="6868160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8800" dirty="0"/>
              <a:t>	4. Conclusion</a:t>
            </a:r>
          </a:p>
          <a:p>
            <a:r>
              <a:rPr lang="fr-FR" sz="4000" dirty="0"/>
              <a:t>	Points d’amélioration possibles</a:t>
            </a:r>
          </a:p>
          <a:p>
            <a:r>
              <a:rPr lang="fr-FR" sz="4000" dirty="0"/>
              <a:t>	Q&amp;A</a:t>
            </a:r>
          </a:p>
          <a:p>
            <a:r>
              <a:rPr lang="fr-FR" sz="4000" dirty="0"/>
              <a:t>	</a:t>
            </a:r>
          </a:p>
        </p:txBody>
      </p:sp>
      <p:cxnSp>
        <p:nvCxnSpPr>
          <p:cNvPr id="4" name="Connecteur droit 3">
            <a:extLst>
              <a:ext uri="{FF2B5EF4-FFF2-40B4-BE49-F238E27FC236}">
                <a16:creationId xmlns:a16="http://schemas.microsoft.com/office/drawing/2014/main" id="{6628E5E9-8C81-4D31-A167-A0BD9A996233}"/>
              </a:ext>
            </a:extLst>
          </p:cNvPr>
          <p:cNvCxnSpPr/>
          <p:nvPr/>
        </p:nvCxnSpPr>
        <p:spPr>
          <a:xfrm>
            <a:off x="284480" y="3098800"/>
            <a:ext cx="1144682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1186038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87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>
            <a:extLst>
              <a:ext uri="{FF2B5EF4-FFF2-40B4-BE49-F238E27FC236}">
                <a16:creationId xmlns:a16="http://schemas.microsoft.com/office/drawing/2014/main" id="{86A52CCD-9959-43E4-90E1-14C68071D2EF}"/>
              </a:ext>
            </a:extLst>
          </p:cNvPr>
          <p:cNvSpPr>
            <a:spLocks/>
          </p:cNvSpPr>
          <p:nvPr/>
        </p:nvSpPr>
        <p:spPr>
          <a:xfrm>
            <a:off x="-1546" y="0"/>
            <a:ext cx="12193545" cy="544108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sp>
        <p:nvSpPr>
          <p:cNvPr id="70" name="Oval 21">
            <a:extLst>
              <a:ext uri="{FF2B5EF4-FFF2-40B4-BE49-F238E27FC236}">
                <a16:creationId xmlns:a16="http://schemas.microsoft.com/office/drawing/2014/main" id="{21E00B41-C90D-4BDF-A077-C8F7B556C7BC}"/>
              </a:ext>
            </a:extLst>
          </p:cNvPr>
          <p:cNvSpPr>
            <a:spLocks/>
          </p:cNvSpPr>
          <p:nvPr/>
        </p:nvSpPr>
        <p:spPr>
          <a:xfrm>
            <a:off x="4891314" y="-223688"/>
            <a:ext cx="2409372" cy="1008000"/>
          </a:xfrm>
          <a:prstGeom prst="ellipse">
            <a:avLst/>
          </a:prstGeom>
          <a:solidFill>
            <a:srgbClr val="D7D8D7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solidFill>
                <a:srgbClr val="2A0068"/>
              </a:solidFill>
              <a:uFillTx/>
              <a:latin typeface="Baloo" panose="03080902040302020200" pitchFamily="66" charset="0"/>
              <a:cs typeface="Baloo" panose="03080902040302020200" pitchFamily="66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F990D0F-3A28-4858-B939-D0DB6600268A}"/>
              </a:ext>
            </a:extLst>
          </p:cNvPr>
          <p:cNvSpPr>
            <a:spLocks/>
          </p:cNvSpPr>
          <p:nvPr/>
        </p:nvSpPr>
        <p:spPr>
          <a:xfrm>
            <a:off x="4530058" y="-249582"/>
            <a:ext cx="3131884" cy="783727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cxnSp>
        <p:nvCxnSpPr>
          <p:cNvPr id="74" name="Straight Connector 36">
            <a:extLst>
              <a:ext uri="{FF2B5EF4-FFF2-40B4-BE49-F238E27FC236}">
                <a16:creationId xmlns:a16="http://schemas.microsoft.com/office/drawing/2014/main" id="{6AC8BA9A-5A95-442A-86B2-D6471C273567}"/>
              </a:ext>
            </a:extLst>
          </p:cNvPr>
          <p:cNvCxnSpPr/>
          <p:nvPr/>
        </p:nvCxnSpPr>
        <p:spPr>
          <a:xfrm>
            <a:off x="4696733" y="190333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36">
            <a:extLst>
              <a:ext uri="{FF2B5EF4-FFF2-40B4-BE49-F238E27FC236}">
                <a16:creationId xmlns:a16="http://schemas.microsoft.com/office/drawing/2014/main" id="{3F5750F7-3C85-48DA-BD57-0EB1C694D16F}"/>
              </a:ext>
            </a:extLst>
          </p:cNvPr>
          <p:cNvCxnSpPr/>
          <p:nvPr/>
        </p:nvCxnSpPr>
        <p:spPr>
          <a:xfrm>
            <a:off x="2028856" y="19759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26">
            <a:extLst>
              <a:ext uri="{FF2B5EF4-FFF2-40B4-BE49-F238E27FC236}">
                <a16:creationId xmlns:a16="http://schemas.microsoft.com/office/drawing/2014/main" id="{39F69F4E-3B4A-41B5-8C1D-64E9A4BC90EE}"/>
              </a:ext>
            </a:extLst>
          </p:cNvPr>
          <p:cNvSpPr txBox="1">
            <a:spLocks/>
          </p:cNvSpPr>
          <p:nvPr/>
        </p:nvSpPr>
        <p:spPr>
          <a:xfrm>
            <a:off x="7287" y="142281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TEXTE</a:t>
            </a:r>
          </a:p>
        </p:txBody>
      </p:sp>
      <p:sp>
        <p:nvSpPr>
          <p:cNvPr id="81" name="TextBox 26">
            <a:extLst>
              <a:ext uri="{FF2B5EF4-FFF2-40B4-BE49-F238E27FC236}">
                <a16:creationId xmlns:a16="http://schemas.microsoft.com/office/drawing/2014/main" id="{57D0B7C0-DC57-431F-8DD5-2F8B24747D09}"/>
              </a:ext>
            </a:extLst>
          </p:cNvPr>
          <p:cNvSpPr txBox="1">
            <a:spLocks/>
          </p:cNvSpPr>
          <p:nvPr/>
        </p:nvSpPr>
        <p:spPr>
          <a:xfrm>
            <a:off x="2059287" y="146805"/>
            <a:ext cx="2891751" cy="3059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MODÉLISATION</a:t>
            </a: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22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3" name="Image 2">
            <a:extLst>
              <a:ext uri="{FF2B5EF4-FFF2-40B4-BE49-F238E27FC236}">
                <a16:creationId xmlns:a16="http://schemas.microsoft.com/office/drawing/2014/main" id="{7A389926-05FB-4C34-A31D-E1334EF99F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8447" y="0"/>
            <a:ext cx="2524125" cy="495300"/>
          </a:xfrm>
          <a:prstGeom prst="rect">
            <a:avLst/>
          </a:prstGeom>
        </p:spPr>
      </p:pic>
      <p:cxnSp>
        <p:nvCxnSpPr>
          <p:cNvPr id="71" name="Straight Connector 22">
            <a:extLst>
              <a:ext uri="{FF2B5EF4-FFF2-40B4-BE49-F238E27FC236}">
                <a16:creationId xmlns:a16="http://schemas.microsoft.com/office/drawing/2014/main" id="{3E677F3D-C08E-49B3-BFF4-7E1553EE5144}"/>
              </a:ext>
            </a:extLst>
          </p:cNvPr>
          <p:cNvCxnSpPr>
            <a:cxnSpLocks/>
          </p:cNvCxnSpPr>
          <p:nvPr/>
        </p:nvCxnSpPr>
        <p:spPr>
          <a:xfrm>
            <a:off x="-21590" y="548496"/>
            <a:ext cx="5117779" cy="14365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B3E40F35-6F18-4795-94D0-0D751C6B0722}"/>
              </a:ext>
            </a:extLst>
          </p:cNvPr>
          <p:cNvSpPr/>
          <p:nvPr/>
        </p:nvSpPr>
        <p:spPr>
          <a:xfrm>
            <a:off x="353226" y="892388"/>
            <a:ext cx="11484000" cy="52322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800" b="1" dirty="0">
                <a:solidFill>
                  <a:srgbClr val="2A0068"/>
                </a:solidFill>
              </a:rPr>
              <a:t>Points d’améliorations</a:t>
            </a:r>
          </a:p>
        </p:txBody>
      </p:sp>
      <p:sp>
        <p:nvSpPr>
          <p:cNvPr id="40" name="TextBox 26">
            <a:extLst>
              <a:ext uri="{FF2B5EF4-FFF2-40B4-BE49-F238E27FC236}">
                <a16:creationId xmlns:a16="http://schemas.microsoft.com/office/drawing/2014/main" id="{7F06B964-FE45-44D1-A532-BC3FA2FDC537}"/>
              </a:ext>
            </a:extLst>
          </p:cNvPr>
          <p:cNvSpPr txBox="1">
            <a:spLocks/>
          </p:cNvSpPr>
          <p:nvPr/>
        </p:nvSpPr>
        <p:spPr>
          <a:xfrm>
            <a:off x="7424298" y="146062"/>
            <a:ext cx="2664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rgbClr val="2A0068"/>
                </a:solidFill>
                <a:latin typeface="Trebuchet MS" panose="020B0603020202020204" pitchFamily="34" charset="0"/>
              </a:rPr>
              <a:t>DASHBOARD</a:t>
            </a:r>
          </a:p>
        </p:txBody>
      </p:sp>
      <p:cxnSp>
        <p:nvCxnSpPr>
          <p:cNvPr id="41" name="Straight Connector 36">
            <a:extLst>
              <a:ext uri="{FF2B5EF4-FFF2-40B4-BE49-F238E27FC236}">
                <a16:creationId xmlns:a16="http://schemas.microsoft.com/office/drawing/2014/main" id="{00C750FE-B05E-4CEA-853A-6B0B947ECC04}"/>
              </a:ext>
            </a:extLst>
          </p:cNvPr>
          <p:cNvCxnSpPr/>
          <p:nvPr/>
        </p:nvCxnSpPr>
        <p:spPr>
          <a:xfrm>
            <a:off x="7536962" y="199069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Box 26">
            <a:extLst>
              <a:ext uri="{FF2B5EF4-FFF2-40B4-BE49-F238E27FC236}">
                <a16:creationId xmlns:a16="http://schemas.microsoft.com/office/drawing/2014/main" id="{FE588524-D155-4A00-A514-94869C5E5025}"/>
              </a:ext>
            </a:extLst>
          </p:cNvPr>
          <p:cNvSpPr txBox="1">
            <a:spLocks/>
          </p:cNvSpPr>
          <p:nvPr/>
        </p:nvSpPr>
        <p:spPr>
          <a:xfrm>
            <a:off x="10103603" y="144968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CLUSION / Q&amp;A</a:t>
            </a:r>
          </a:p>
        </p:txBody>
      </p:sp>
      <p:cxnSp>
        <p:nvCxnSpPr>
          <p:cNvPr id="43" name="Straight Connector 36">
            <a:extLst>
              <a:ext uri="{FF2B5EF4-FFF2-40B4-BE49-F238E27FC236}">
                <a16:creationId xmlns:a16="http://schemas.microsoft.com/office/drawing/2014/main" id="{7718A675-293C-49B9-8796-EB7B4B00B458}"/>
              </a:ext>
            </a:extLst>
          </p:cNvPr>
          <p:cNvCxnSpPr/>
          <p:nvPr/>
        </p:nvCxnSpPr>
        <p:spPr>
          <a:xfrm>
            <a:off x="10081246" y="19745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23">
            <a:extLst>
              <a:ext uri="{FF2B5EF4-FFF2-40B4-BE49-F238E27FC236}">
                <a16:creationId xmlns:a16="http://schemas.microsoft.com/office/drawing/2014/main" id="{BF677A9E-33AD-4749-AA81-4DFE76D51288}"/>
              </a:ext>
            </a:extLst>
          </p:cNvPr>
          <p:cNvCxnSpPr>
            <a:cxnSpLocks/>
          </p:cNvCxnSpPr>
          <p:nvPr/>
        </p:nvCxnSpPr>
        <p:spPr>
          <a:xfrm flipV="1">
            <a:off x="7103948" y="540993"/>
            <a:ext cx="5118532" cy="11708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tangle 25">
            <a:extLst>
              <a:ext uri="{FF2B5EF4-FFF2-40B4-BE49-F238E27FC236}">
                <a16:creationId xmlns:a16="http://schemas.microsoft.com/office/drawing/2014/main" id="{7AB40AB7-2145-4A11-94BC-E88DBECBC45B}"/>
              </a:ext>
            </a:extLst>
          </p:cNvPr>
          <p:cNvSpPr/>
          <p:nvPr/>
        </p:nvSpPr>
        <p:spPr>
          <a:xfrm>
            <a:off x="623352" y="1415608"/>
            <a:ext cx="5977114" cy="463108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Créer un indicateur + rajouter dans le dashboard</a:t>
            </a:r>
          </a:p>
          <a:p>
            <a:pPr marL="285750" indent="-285750" algn="ctr">
              <a:buFontTx/>
              <a:buChar char="-"/>
            </a:pPr>
            <a:r>
              <a:rPr lang="fr-FR" dirty="0"/>
              <a:t>Proba client, à partir de ça on peut se dire qu’un crédit réussi à 3% de 3000 euros</a:t>
            </a:r>
          </a:p>
          <a:p>
            <a:pPr marL="285750" indent="-285750" algn="ctr">
              <a:buFontTx/>
              <a:buChar char="-"/>
            </a:pPr>
            <a:r>
              <a:rPr lang="fr-FR" dirty="0"/>
              <a:t>Un crédit qui </a:t>
            </a:r>
            <a:r>
              <a:rPr lang="fr-FR" dirty="0" err="1"/>
              <a:t>faile</a:t>
            </a:r>
            <a:endParaRPr lang="fr-FR" dirty="0"/>
          </a:p>
          <a:p>
            <a:pPr marL="285750" indent="-285750" algn="ctr">
              <a:buFontTx/>
              <a:buChar char="-"/>
            </a:pPr>
            <a:r>
              <a:rPr lang="fr-FR" dirty="0"/>
              <a:t>Qu’est-ce qu’il se passe si je rejette un client par erreur</a:t>
            </a:r>
          </a:p>
          <a:p>
            <a:pPr marL="285750" indent="-285750" algn="ctr">
              <a:buFontTx/>
              <a:buChar char="-"/>
            </a:pPr>
            <a:r>
              <a:rPr lang="fr-FR" dirty="0"/>
              <a:t>Cout d’un crédit accepté qui va faire défaut, crédit non accepté qui ne va pas faire défaut</a:t>
            </a:r>
          </a:p>
          <a:p>
            <a:pPr marL="285750" indent="-285750" algn="ctr">
              <a:buFontTx/>
              <a:buChar char="-"/>
            </a:pPr>
            <a:r>
              <a:rPr lang="fr-FR" dirty="0"/>
              <a:t>Ou le mettre dans le dashboard aussi</a:t>
            </a:r>
          </a:p>
          <a:p>
            <a:pPr marL="285750" indent="-285750" algn="ctr">
              <a:buFontTx/>
              <a:buChar char="-"/>
            </a:pPr>
            <a:endParaRPr lang="fr-FR" dirty="0"/>
          </a:p>
          <a:p>
            <a:pPr marL="285750" indent="-285750" algn="ctr">
              <a:buFontTx/>
              <a:buChar char="-"/>
            </a:pPr>
            <a:r>
              <a:rPr lang="fr-FR" dirty="0"/>
              <a:t>Base du crédit et son gain marginal, à partir de ça on sait combien on va gagner/perdre (taux x crédit ce qu’on gagne, le crédit pour ce qu’on perd)</a:t>
            </a:r>
          </a:p>
        </p:txBody>
      </p:sp>
    </p:spTree>
    <p:extLst>
      <p:ext uri="{BB962C8B-B14F-4D97-AF65-F5344CB8AC3E}">
        <p14:creationId xmlns:p14="http://schemas.microsoft.com/office/powerpoint/2010/main" val="21615563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23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2A64376D-B03F-430E-AB31-F93C3268EA01}"/>
              </a:ext>
            </a:extLst>
          </p:cNvPr>
          <p:cNvSpPr/>
          <p:nvPr/>
        </p:nvSpPr>
        <p:spPr>
          <a:xfrm>
            <a:off x="-101600" y="-10160"/>
            <a:ext cx="12293600" cy="6868160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3900" dirty="0"/>
              <a:t>Q&amp;A</a:t>
            </a:r>
          </a:p>
        </p:txBody>
      </p:sp>
    </p:spTree>
    <p:extLst>
      <p:ext uri="{BB962C8B-B14F-4D97-AF65-F5344CB8AC3E}">
        <p14:creationId xmlns:p14="http://schemas.microsoft.com/office/powerpoint/2010/main" val="81864747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riangle rectangle 1">
            <a:extLst>
              <a:ext uri="{FF2B5EF4-FFF2-40B4-BE49-F238E27FC236}">
                <a16:creationId xmlns:a16="http://schemas.microsoft.com/office/drawing/2014/main" id="{72951AAC-3EAF-4CBD-9C47-3427BEE6EB12}"/>
              </a:ext>
            </a:extLst>
          </p:cNvPr>
          <p:cNvSpPr/>
          <p:nvPr/>
        </p:nvSpPr>
        <p:spPr>
          <a:xfrm rot="5400000">
            <a:off x="228600" y="-228600"/>
            <a:ext cx="6858000" cy="7315200"/>
          </a:xfrm>
          <a:prstGeom prst="rtTriangl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39DA96A6-BFE0-4B2E-9B50-F95BE4FD27D1}"/>
              </a:ext>
            </a:extLst>
          </p:cNvPr>
          <p:cNvSpPr/>
          <p:nvPr/>
        </p:nvSpPr>
        <p:spPr>
          <a:xfrm>
            <a:off x="1019384" y="2071927"/>
            <a:ext cx="1895265" cy="419813"/>
          </a:xfrm>
          <a:prstGeom prst="rect">
            <a:avLst/>
          </a:prstGeom>
          <a:solidFill>
            <a:srgbClr val="2A006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0" rtlCol="0" anchor="ctr"/>
          <a:lstStyle/>
          <a:p>
            <a:pPr algn="ctr"/>
            <a:r>
              <a:rPr lang="fr-FR" sz="2800" b="1" cap="all" dirty="0">
                <a:ln w="22225">
                  <a:solidFill>
                    <a:schemeClr val="bg1"/>
                  </a:solidFill>
                  <a:prstDash val="solid"/>
                </a:ln>
                <a:solidFill>
                  <a:schemeClr val="bg1"/>
                </a:solidFill>
              </a:rPr>
              <a:t>Projet 7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4056CFB-05C3-4337-B70E-26C3D82023A4}"/>
              </a:ext>
            </a:extLst>
          </p:cNvPr>
          <p:cNvSpPr/>
          <p:nvPr/>
        </p:nvSpPr>
        <p:spPr>
          <a:xfrm>
            <a:off x="529380" y="2588387"/>
            <a:ext cx="2914649" cy="646331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</a:rPr>
              <a:t>IMPLÉMENTER </a:t>
            </a:r>
          </a:p>
          <a:p>
            <a:pPr algn="ctr"/>
            <a:r>
              <a:rPr lang="fr-FR" b="1" dirty="0">
                <a:solidFill>
                  <a:schemeClr val="bg1"/>
                </a:solidFill>
              </a:rPr>
              <a:t>un modèle de scoring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322F999-E486-4C74-8D3D-7CAE4787F417}"/>
              </a:ext>
            </a:extLst>
          </p:cNvPr>
          <p:cNvSpPr/>
          <p:nvPr/>
        </p:nvSpPr>
        <p:spPr>
          <a:xfrm>
            <a:off x="5720682" y="1991360"/>
            <a:ext cx="5813316" cy="413432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b="1" cap="all" dirty="0">
                <a:solidFill>
                  <a:srgbClr val="2A0068"/>
                </a:solidFill>
                <a:latin typeface="Trebuchet MS" panose="020B0603020202020204" pitchFamily="34" charset="0"/>
              </a:rPr>
              <a:t>1 ● Contexte – </a:t>
            </a:r>
            <a:r>
              <a:rPr lang="fr-FR" dirty="0">
                <a:solidFill>
                  <a:srgbClr val="2A0068"/>
                </a:solidFill>
              </a:rPr>
              <a:t>Rappel de la problématique et présentation du jeu de données (5 min)</a:t>
            </a:r>
          </a:p>
          <a:p>
            <a:endParaRPr lang="fr-FR" cap="all" dirty="0">
              <a:solidFill>
                <a:srgbClr val="2A0068"/>
              </a:solidFill>
              <a:latin typeface="Trebuchet MS" panose="020B0603020202020204" pitchFamily="34" charset="0"/>
            </a:endParaRPr>
          </a:p>
          <a:p>
            <a:r>
              <a:rPr lang="fr-FR" b="1" cap="all" dirty="0">
                <a:solidFill>
                  <a:srgbClr val="2A0068"/>
                </a:solidFill>
                <a:latin typeface="Trebuchet MS" panose="020B0603020202020204" pitchFamily="34" charset="0"/>
              </a:rPr>
              <a:t>2 ● Modélisation – </a:t>
            </a:r>
            <a:r>
              <a:rPr lang="fr-FR" dirty="0">
                <a:solidFill>
                  <a:srgbClr val="2A0068"/>
                </a:solidFill>
              </a:rPr>
              <a:t>Explication de l’approche de modélisation (10 min)</a:t>
            </a:r>
            <a:endParaRPr lang="fr-FR" cap="all" dirty="0">
              <a:solidFill>
                <a:srgbClr val="2A0068"/>
              </a:solidFill>
              <a:latin typeface="Trebuchet MS" panose="020B0603020202020204" pitchFamily="34" charset="0"/>
            </a:endParaRPr>
          </a:p>
          <a:p>
            <a:endParaRPr lang="fr-FR" cap="all" dirty="0">
              <a:solidFill>
                <a:srgbClr val="2A0068"/>
              </a:solidFill>
              <a:latin typeface="Trebuchet MS" panose="020B0603020202020204" pitchFamily="34" charset="0"/>
            </a:endParaRPr>
          </a:p>
          <a:p>
            <a:r>
              <a:rPr lang="fr-FR" b="1" cap="all" dirty="0">
                <a:solidFill>
                  <a:srgbClr val="2A0068"/>
                </a:solidFill>
                <a:latin typeface="Trebuchet MS" panose="020B0603020202020204" pitchFamily="34" charset="0"/>
              </a:rPr>
              <a:t>3 ● dashboard – </a:t>
            </a:r>
            <a:r>
              <a:rPr lang="fr-FR" dirty="0">
                <a:solidFill>
                  <a:srgbClr val="2A0068"/>
                </a:solidFill>
              </a:rPr>
              <a:t>Présentation du dashboard (5 min)</a:t>
            </a:r>
            <a:endParaRPr lang="fr-FR" cap="all" dirty="0">
              <a:solidFill>
                <a:srgbClr val="2A0068"/>
              </a:solidFill>
              <a:latin typeface="Trebuchet MS" panose="020B0603020202020204" pitchFamily="34" charset="0"/>
            </a:endParaRPr>
          </a:p>
          <a:p>
            <a:endParaRPr lang="fr-FR" cap="all" dirty="0">
              <a:solidFill>
                <a:srgbClr val="2A0068"/>
              </a:solidFill>
              <a:latin typeface="Trebuchet MS" panose="020B0603020202020204" pitchFamily="34" charset="0"/>
            </a:endParaRPr>
          </a:p>
          <a:p>
            <a:r>
              <a:rPr lang="fr-FR" b="1" cap="all" dirty="0">
                <a:solidFill>
                  <a:srgbClr val="2A0068"/>
                </a:solidFill>
                <a:latin typeface="Trebuchet MS" panose="020B0603020202020204" pitchFamily="34" charset="0"/>
              </a:rPr>
              <a:t>4 </a:t>
            </a:r>
            <a:r>
              <a:rPr lang="fr-FR" cap="all" dirty="0">
                <a:solidFill>
                  <a:srgbClr val="2A0068"/>
                </a:solidFill>
                <a:latin typeface="Trebuchet MS" panose="020B0603020202020204" pitchFamily="34" charset="0"/>
              </a:rPr>
              <a:t>● </a:t>
            </a:r>
            <a:r>
              <a:rPr lang="fr-FR" b="1" cap="all" dirty="0">
                <a:solidFill>
                  <a:srgbClr val="2A0068"/>
                </a:solidFill>
                <a:latin typeface="Trebuchet MS" panose="020B0603020202020204" pitchFamily="34" charset="0"/>
              </a:rPr>
              <a:t>CONCLUSION/Q&amp;A </a:t>
            </a:r>
            <a:r>
              <a:rPr lang="fr-FR" dirty="0">
                <a:solidFill>
                  <a:srgbClr val="2A0068"/>
                </a:solidFill>
              </a:rPr>
              <a:t>(5-10 min)</a:t>
            </a:r>
          </a:p>
        </p:txBody>
      </p:sp>
      <p:grpSp>
        <p:nvGrpSpPr>
          <p:cNvPr id="6" name="Groupe 5">
            <a:extLst>
              <a:ext uri="{FF2B5EF4-FFF2-40B4-BE49-F238E27FC236}">
                <a16:creationId xmlns:a16="http://schemas.microsoft.com/office/drawing/2014/main" id="{5295DDB8-1A0F-49B1-8060-0F51D933D15D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431E8E96-A3BF-4FDA-B490-023755BBC53A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8" name="Espace réservé du numéro de diapositive 3">
              <a:extLst>
                <a:ext uri="{FF2B5EF4-FFF2-40B4-BE49-F238E27FC236}">
                  <a16:creationId xmlns:a16="http://schemas.microsoft.com/office/drawing/2014/main" id="{FE625BF4-A70A-446D-B58D-6C7CC7FD1145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3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9" name="Triangle rectangle 8">
              <a:extLst>
                <a:ext uri="{FF2B5EF4-FFF2-40B4-BE49-F238E27FC236}">
                  <a16:creationId xmlns:a16="http://schemas.microsoft.com/office/drawing/2014/main" id="{04F291E6-5902-437F-BBC0-B91B2B384886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</p:spTree>
    <p:extLst>
      <p:ext uri="{BB962C8B-B14F-4D97-AF65-F5344CB8AC3E}">
        <p14:creationId xmlns:p14="http://schemas.microsoft.com/office/powerpoint/2010/main" val="206092382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4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2A64376D-B03F-430E-AB31-F93C3268EA01}"/>
              </a:ext>
            </a:extLst>
          </p:cNvPr>
          <p:cNvSpPr/>
          <p:nvPr/>
        </p:nvSpPr>
        <p:spPr>
          <a:xfrm>
            <a:off x="-101600" y="-10160"/>
            <a:ext cx="12293600" cy="6868160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8800" dirty="0"/>
              <a:t>	1. Contexte</a:t>
            </a:r>
          </a:p>
          <a:p>
            <a:r>
              <a:rPr lang="fr-FR" sz="4000" dirty="0"/>
              <a:t>	Rappel de la problématique</a:t>
            </a:r>
          </a:p>
          <a:p>
            <a:r>
              <a:rPr lang="fr-FR" sz="4000" dirty="0"/>
              <a:t>	Feature engineering</a:t>
            </a:r>
          </a:p>
          <a:p>
            <a:r>
              <a:rPr lang="fr-FR" sz="4000" dirty="0"/>
              <a:t>	Traitement du déséquilibre</a:t>
            </a:r>
          </a:p>
        </p:txBody>
      </p:sp>
      <p:cxnSp>
        <p:nvCxnSpPr>
          <p:cNvPr id="4" name="Connecteur droit 3">
            <a:extLst>
              <a:ext uri="{FF2B5EF4-FFF2-40B4-BE49-F238E27FC236}">
                <a16:creationId xmlns:a16="http://schemas.microsoft.com/office/drawing/2014/main" id="{6628E5E9-8C81-4D31-A167-A0BD9A996233}"/>
              </a:ext>
            </a:extLst>
          </p:cNvPr>
          <p:cNvCxnSpPr/>
          <p:nvPr/>
        </p:nvCxnSpPr>
        <p:spPr>
          <a:xfrm>
            <a:off x="284480" y="3098800"/>
            <a:ext cx="1144682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7669324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30506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3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>
            <a:extLst>
              <a:ext uri="{FF2B5EF4-FFF2-40B4-BE49-F238E27FC236}">
                <a16:creationId xmlns:a16="http://schemas.microsoft.com/office/drawing/2014/main" id="{86A52CCD-9959-43E4-90E1-14C68071D2EF}"/>
              </a:ext>
            </a:extLst>
          </p:cNvPr>
          <p:cNvSpPr>
            <a:spLocks/>
          </p:cNvSpPr>
          <p:nvPr/>
        </p:nvSpPr>
        <p:spPr>
          <a:xfrm>
            <a:off x="-1546" y="0"/>
            <a:ext cx="12193545" cy="544108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sp>
        <p:nvSpPr>
          <p:cNvPr id="70" name="Oval 21">
            <a:extLst>
              <a:ext uri="{FF2B5EF4-FFF2-40B4-BE49-F238E27FC236}">
                <a16:creationId xmlns:a16="http://schemas.microsoft.com/office/drawing/2014/main" id="{21E00B41-C90D-4BDF-A077-C8F7B556C7BC}"/>
              </a:ext>
            </a:extLst>
          </p:cNvPr>
          <p:cNvSpPr>
            <a:spLocks/>
          </p:cNvSpPr>
          <p:nvPr/>
        </p:nvSpPr>
        <p:spPr>
          <a:xfrm>
            <a:off x="4891314" y="-223688"/>
            <a:ext cx="2409372" cy="1008000"/>
          </a:xfrm>
          <a:prstGeom prst="ellipse">
            <a:avLst/>
          </a:prstGeom>
          <a:solidFill>
            <a:srgbClr val="D7D8D7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solidFill>
                <a:srgbClr val="2A0068"/>
              </a:solidFill>
              <a:uFillTx/>
              <a:latin typeface="Baloo" panose="03080902040302020200" pitchFamily="66" charset="0"/>
              <a:cs typeface="Baloo" panose="03080902040302020200" pitchFamily="66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F990D0F-3A28-4858-B939-D0DB6600268A}"/>
              </a:ext>
            </a:extLst>
          </p:cNvPr>
          <p:cNvSpPr>
            <a:spLocks/>
          </p:cNvSpPr>
          <p:nvPr/>
        </p:nvSpPr>
        <p:spPr>
          <a:xfrm>
            <a:off x="4530058" y="-249582"/>
            <a:ext cx="3131884" cy="783727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cxnSp>
        <p:nvCxnSpPr>
          <p:cNvPr id="74" name="Straight Connector 36">
            <a:extLst>
              <a:ext uri="{FF2B5EF4-FFF2-40B4-BE49-F238E27FC236}">
                <a16:creationId xmlns:a16="http://schemas.microsoft.com/office/drawing/2014/main" id="{6AC8BA9A-5A95-442A-86B2-D6471C273567}"/>
              </a:ext>
            </a:extLst>
          </p:cNvPr>
          <p:cNvCxnSpPr/>
          <p:nvPr/>
        </p:nvCxnSpPr>
        <p:spPr>
          <a:xfrm>
            <a:off x="4696733" y="190333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36">
            <a:extLst>
              <a:ext uri="{FF2B5EF4-FFF2-40B4-BE49-F238E27FC236}">
                <a16:creationId xmlns:a16="http://schemas.microsoft.com/office/drawing/2014/main" id="{3F5750F7-3C85-48DA-BD57-0EB1C694D16F}"/>
              </a:ext>
            </a:extLst>
          </p:cNvPr>
          <p:cNvCxnSpPr/>
          <p:nvPr/>
        </p:nvCxnSpPr>
        <p:spPr>
          <a:xfrm>
            <a:off x="2028856" y="19759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26">
            <a:extLst>
              <a:ext uri="{FF2B5EF4-FFF2-40B4-BE49-F238E27FC236}">
                <a16:creationId xmlns:a16="http://schemas.microsoft.com/office/drawing/2014/main" id="{39F69F4E-3B4A-41B5-8C1D-64E9A4BC90EE}"/>
              </a:ext>
            </a:extLst>
          </p:cNvPr>
          <p:cNvSpPr txBox="1">
            <a:spLocks/>
          </p:cNvSpPr>
          <p:nvPr/>
        </p:nvSpPr>
        <p:spPr>
          <a:xfrm>
            <a:off x="7287" y="142281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rgbClr val="2A0068"/>
                </a:solidFill>
                <a:latin typeface="Trebuchet MS" panose="020B0603020202020204" pitchFamily="34" charset="0"/>
              </a:rPr>
              <a:t>CONTEXTE</a:t>
            </a:r>
          </a:p>
        </p:txBody>
      </p:sp>
      <p:sp>
        <p:nvSpPr>
          <p:cNvPr id="81" name="TextBox 26">
            <a:extLst>
              <a:ext uri="{FF2B5EF4-FFF2-40B4-BE49-F238E27FC236}">
                <a16:creationId xmlns:a16="http://schemas.microsoft.com/office/drawing/2014/main" id="{57D0B7C0-DC57-431F-8DD5-2F8B24747D09}"/>
              </a:ext>
            </a:extLst>
          </p:cNvPr>
          <p:cNvSpPr txBox="1">
            <a:spLocks/>
          </p:cNvSpPr>
          <p:nvPr/>
        </p:nvSpPr>
        <p:spPr>
          <a:xfrm>
            <a:off x="2059287" y="146805"/>
            <a:ext cx="2891751" cy="3059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MODÉLISATION</a:t>
            </a: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5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3" name="Image 2">
            <a:extLst>
              <a:ext uri="{FF2B5EF4-FFF2-40B4-BE49-F238E27FC236}">
                <a16:creationId xmlns:a16="http://schemas.microsoft.com/office/drawing/2014/main" id="{7A389926-05FB-4C34-A31D-E1334EF99F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8447" y="0"/>
            <a:ext cx="2524125" cy="495300"/>
          </a:xfrm>
          <a:prstGeom prst="rect">
            <a:avLst/>
          </a:prstGeom>
        </p:spPr>
      </p:pic>
      <p:cxnSp>
        <p:nvCxnSpPr>
          <p:cNvPr id="71" name="Straight Connector 22">
            <a:extLst>
              <a:ext uri="{FF2B5EF4-FFF2-40B4-BE49-F238E27FC236}">
                <a16:creationId xmlns:a16="http://schemas.microsoft.com/office/drawing/2014/main" id="{3E677F3D-C08E-49B3-BFF4-7E1553EE5144}"/>
              </a:ext>
            </a:extLst>
          </p:cNvPr>
          <p:cNvCxnSpPr>
            <a:cxnSpLocks/>
          </p:cNvCxnSpPr>
          <p:nvPr/>
        </p:nvCxnSpPr>
        <p:spPr>
          <a:xfrm>
            <a:off x="-21590" y="548496"/>
            <a:ext cx="5117779" cy="14365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B3E40F35-6F18-4795-94D0-0D751C6B0722}"/>
              </a:ext>
            </a:extLst>
          </p:cNvPr>
          <p:cNvSpPr/>
          <p:nvPr/>
        </p:nvSpPr>
        <p:spPr>
          <a:xfrm>
            <a:off x="353226" y="892388"/>
            <a:ext cx="11484000" cy="52322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800" b="1" dirty="0">
                <a:solidFill>
                  <a:srgbClr val="2A0068"/>
                </a:solidFill>
              </a:rPr>
              <a:t>Présentation de la problématiqu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5F6CA13-0500-4EA2-AFB2-194FE2DBE1CB}"/>
              </a:ext>
            </a:extLst>
          </p:cNvPr>
          <p:cNvSpPr/>
          <p:nvPr/>
        </p:nvSpPr>
        <p:spPr>
          <a:xfrm>
            <a:off x="353226" y="1579488"/>
            <a:ext cx="11484000" cy="47300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BF2A888B-9ECF-4420-A9CF-7429533584A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07948" y="2142008"/>
            <a:ext cx="2756370" cy="262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0B62CD7A-9337-4FC8-B28F-B70AA0F8F7F1}"/>
              </a:ext>
            </a:extLst>
          </p:cNvPr>
          <p:cNvSpPr/>
          <p:nvPr/>
        </p:nvSpPr>
        <p:spPr>
          <a:xfrm>
            <a:off x="1207948" y="4853141"/>
            <a:ext cx="2756370" cy="80264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i="1" dirty="0">
                <a:solidFill>
                  <a:srgbClr val="2A0068"/>
                </a:solidFill>
              </a:rPr>
              <a:t>« Prêt à dépenser » est une </a:t>
            </a:r>
            <a:r>
              <a:rPr lang="fr-FR" b="1" i="1" dirty="0">
                <a:solidFill>
                  <a:srgbClr val="2A0068"/>
                </a:solidFill>
              </a:rPr>
              <a:t>société de crédits à la consommation</a:t>
            </a:r>
          </a:p>
        </p:txBody>
      </p:sp>
      <p:cxnSp>
        <p:nvCxnSpPr>
          <p:cNvPr id="10" name="Connecteur droit 9">
            <a:extLst>
              <a:ext uri="{FF2B5EF4-FFF2-40B4-BE49-F238E27FC236}">
                <a16:creationId xmlns:a16="http://schemas.microsoft.com/office/drawing/2014/main" id="{C2743758-7832-4AB5-BE26-6C2639A87256}"/>
              </a:ext>
            </a:extLst>
          </p:cNvPr>
          <p:cNvCxnSpPr/>
          <p:nvPr/>
        </p:nvCxnSpPr>
        <p:spPr>
          <a:xfrm flipV="1">
            <a:off x="5327035" y="2480627"/>
            <a:ext cx="5796000" cy="0"/>
          </a:xfrm>
          <a:prstGeom prst="line">
            <a:avLst/>
          </a:prstGeom>
          <a:ln>
            <a:solidFill>
              <a:srgbClr val="2A00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necteur droit 34">
            <a:extLst>
              <a:ext uri="{FF2B5EF4-FFF2-40B4-BE49-F238E27FC236}">
                <a16:creationId xmlns:a16="http://schemas.microsoft.com/office/drawing/2014/main" id="{91886D88-2B5E-40DA-A1BF-653B67AC489D}"/>
              </a:ext>
            </a:extLst>
          </p:cNvPr>
          <p:cNvCxnSpPr/>
          <p:nvPr/>
        </p:nvCxnSpPr>
        <p:spPr>
          <a:xfrm flipV="1">
            <a:off x="5327035" y="3821747"/>
            <a:ext cx="5796000" cy="0"/>
          </a:xfrm>
          <a:prstGeom prst="line">
            <a:avLst/>
          </a:prstGeom>
          <a:ln>
            <a:solidFill>
              <a:srgbClr val="2A0068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ectangle 35">
            <a:extLst>
              <a:ext uri="{FF2B5EF4-FFF2-40B4-BE49-F238E27FC236}">
                <a16:creationId xmlns:a16="http://schemas.microsoft.com/office/drawing/2014/main" id="{7FF9726B-3BFF-4D3C-81FF-CFE6D49483EB}"/>
              </a:ext>
            </a:extLst>
          </p:cNvPr>
          <p:cNvSpPr/>
          <p:nvPr/>
        </p:nvSpPr>
        <p:spPr>
          <a:xfrm>
            <a:off x="5365657" y="2584668"/>
            <a:ext cx="2781618" cy="111601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1800" dirty="0">
                <a:solidFill>
                  <a:srgbClr val="2A0068"/>
                </a:solidFill>
              </a:rPr>
              <a:t>Construire un </a:t>
            </a:r>
            <a:r>
              <a:rPr lang="fr-FR" sz="1800" b="1" dirty="0">
                <a:solidFill>
                  <a:srgbClr val="2A0068"/>
                </a:solidFill>
              </a:rPr>
              <a:t>modèle de scoring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3AAA2BBC-0389-498E-B394-A3F4BDC13138}"/>
              </a:ext>
            </a:extLst>
          </p:cNvPr>
          <p:cNvSpPr/>
          <p:nvPr/>
        </p:nvSpPr>
        <p:spPr>
          <a:xfrm>
            <a:off x="8274942" y="2584668"/>
            <a:ext cx="2781618" cy="111601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1800" dirty="0">
                <a:solidFill>
                  <a:srgbClr val="2A0068"/>
                </a:solidFill>
              </a:rPr>
              <a:t>Donner une </a:t>
            </a:r>
            <a:r>
              <a:rPr lang="fr-FR" sz="1800" b="1" dirty="0">
                <a:solidFill>
                  <a:srgbClr val="2A0068"/>
                </a:solidFill>
              </a:rPr>
              <a:t>prédiction sur la probabilité de faillite </a:t>
            </a:r>
            <a:r>
              <a:rPr lang="fr-FR" sz="1800" dirty="0">
                <a:solidFill>
                  <a:srgbClr val="2A0068"/>
                </a:solidFill>
              </a:rPr>
              <a:t>d'un client de façon automatique</a:t>
            </a:r>
          </a:p>
        </p:txBody>
      </p:sp>
      <p:sp>
        <p:nvSpPr>
          <p:cNvPr id="12" name="Ellipse 11">
            <a:extLst>
              <a:ext uri="{FF2B5EF4-FFF2-40B4-BE49-F238E27FC236}">
                <a16:creationId xmlns:a16="http://schemas.microsoft.com/office/drawing/2014/main" id="{9CC75E79-878A-4EF0-B840-565AFB1E3D03}"/>
              </a:ext>
            </a:extLst>
          </p:cNvPr>
          <p:cNvSpPr/>
          <p:nvPr/>
        </p:nvSpPr>
        <p:spPr>
          <a:xfrm>
            <a:off x="5113664" y="2921907"/>
            <a:ext cx="432000" cy="432000"/>
          </a:xfrm>
          <a:prstGeom prst="ellips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/>
              <a:t>1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97B4788A-E88B-4B8A-B15D-B964A6338A08}"/>
              </a:ext>
            </a:extLst>
          </p:cNvPr>
          <p:cNvSpPr/>
          <p:nvPr/>
        </p:nvSpPr>
        <p:spPr>
          <a:xfrm>
            <a:off x="5365657" y="3942814"/>
            <a:ext cx="2781618" cy="168582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1800" dirty="0">
                <a:solidFill>
                  <a:srgbClr val="2A0068"/>
                </a:solidFill>
              </a:rPr>
              <a:t>Construire un </a:t>
            </a:r>
            <a:r>
              <a:rPr lang="fr-FR" sz="1800" b="1" dirty="0">
                <a:solidFill>
                  <a:srgbClr val="2A0068"/>
                </a:solidFill>
              </a:rPr>
              <a:t>dashboard interactif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2FF4FB59-6182-430D-9CC2-E15889247E67}"/>
              </a:ext>
            </a:extLst>
          </p:cNvPr>
          <p:cNvSpPr/>
          <p:nvPr/>
        </p:nvSpPr>
        <p:spPr>
          <a:xfrm>
            <a:off x="8274942" y="3942814"/>
            <a:ext cx="2781618" cy="168582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b="1" dirty="0">
                <a:solidFill>
                  <a:srgbClr val="2A0068"/>
                </a:solidFill>
              </a:rPr>
              <a:t>Interpréter plus facilement </a:t>
            </a:r>
            <a:r>
              <a:rPr lang="fr-FR" sz="1800" b="1" dirty="0">
                <a:solidFill>
                  <a:srgbClr val="2A0068"/>
                </a:solidFill>
              </a:rPr>
              <a:t>les prédictions </a:t>
            </a:r>
            <a:r>
              <a:rPr lang="fr-FR" sz="1800" dirty="0">
                <a:solidFill>
                  <a:srgbClr val="2A0068"/>
                </a:solidFill>
              </a:rPr>
              <a:t>faites par le modèle</a:t>
            </a:r>
            <a:endParaRPr lang="fr-FR" dirty="0">
              <a:solidFill>
                <a:srgbClr val="2A0068"/>
              </a:solidFill>
            </a:endParaRPr>
          </a:p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b="1" dirty="0">
                <a:solidFill>
                  <a:srgbClr val="2A0068"/>
                </a:solidFill>
              </a:rPr>
              <a:t>A</a:t>
            </a:r>
            <a:r>
              <a:rPr lang="fr-FR" sz="1800" b="1" dirty="0">
                <a:solidFill>
                  <a:srgbClr val="2A0068"/>
                </a:solidFill>
              </a:rPr>
              <a:t>méliorer la connaissance client </a:t>
            </a:r>
            <a:r>
              <a:rPr lang="fr-FR" sz="1800" dirty="0">
                <a:solidFill>
                  <a:srgbClr val="2A0068"/>
                </a:solidFill>
              </a:rPr>
              <a:t>des chargés de relation client</a:t>
            </a:r>
          </a:p>
        </p:txBody>
      </p:sp>
      <p:sp>
        <p:nvSpPr>
          <p:cNvPr id="43" name="Ellipse 42">
            <a:extLst>
              <a:ext uri="{FF2B5EF4-FFF2-40B4-BE49-F238E27FC236}">
                <a16:creationId xmlns:a16="http://schemas.microsoft.com/office/drawing/2014/main" id="{08B68821-04F2-412A-AFFB-D6DB194274EC}"/>
              </a:ext>
            </a:extLst>
          </p:cNvPr>
          <p:cNvSpPr/>
          <p:nvPr/>
        </p:nvSpPr>
        <p:spPr>
          <a:xfrm>
            <a:off x="5113664" y="4569727"/>
            <a:ext cx="432000" cy="432000"/>
          </a:xfrm>
          <a:prstGeom prst="ellips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/>
              <a:t>2</a:t>
            </a:r>
          </a:p>
        </p:txBody>
      </p:sp>
      <p:cxnSp>
        <p:nvCxnSpPr>
          <p:cNvPr id="45" name="Connecteur droit 44">
            <a:extLst>
              <a:ext uri="{FF2B5EF4-FFF2-40B4-BE49-F238E27FC236}">
                <a16:creationId xmlns:a16="http://schemas.microsoft.com/office/drawing/2014/main" id="{6437FB24-C3DB-4F91-8A70-663F5B3BE5FA}"/>
              </a:ext>
            </a:extLst>
          </p:cNvPr>
          <p:cNvCxnSpPr/>
          <p:nvPr/>
        </p:nvCxnSpPr>
        <p:spPr>
          <a:xfrm flipV="1">
            <a:off x="5345297" y="5734268"/>
            <a:ext cx="5796000" cy="0"/>
          </a:xfrm>
          <a:prstGeom prst="line">
            <a:avLst/>
          </a:prstGeom>
          <a:ln>
            <a:solidFill>
              <a:srgbClr val="2A00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ctangle 45">
            <a:extLst>
              <a:ext uri="{FF2B5EF4-FFF2-40B4-BE49-F238E27FC236}">
                <a16:creationId xmlns:a16="http://schemas.microsoft.com/office/drawing/2014/main" id="{90FAE466-63FF-4371-B58E-9602F6A79B85}"/>
              </a:ext>
            </a:extLst>
          </p:cNvPr>
          <p:cNvSpPr/>
          <p:nvPr/>
        </p:nvSpPr>
        <p:spPr>
          <a:xfrm>
            <a:off x="5365657" y="2059667"/>
            <a:ext cx="2781618" cy="320213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sz="1800" b="1" dirty="0">
                <a:solidFill>
                  <a:schemeClr val="bg1"/>
                </a:solidFill>
              </a:rPr>
              <a:t>Mission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74BA223B-B055-4101-82C5-21875F52DE84}"/>
              </a:ext>
            </a:extLst>
          </p:cNvPr>
          <p:cNvSpPr/>
          <p:nvPr/>
        </p:nvSpPr>
        <p:spPr>
          <a:xfrm>
            <a:off x="8274942" y="2059667"/>
            <a:ext cx="2781618" cy="320213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sz="1800" b="1" dirty="0">
                <a:solidFill>
                  <a:schemeClr val="bg1"/>
                </a:solidFill>
              </a:rPr>
              <a:t>Objectif(s)</a:t>
            </a:r>
          </a:p>
        </p:txBody>
      </p:sp>
      <p:sp>
        <p:nvSpPr>
          <p:cNvPr id="14" name="Triangle isocèle 13">
            <a:extLst>
              <a:ext uri="{FF2B5EF4-FFF2-40B4-BE49-F238E27FC236}">
                <a16:creationId xmlns:a16="http://schemas.microsoft.com/office/drawing/2014/main" id="{0CFFBF9D-00D7-4EFF-A706-B145EBBA691B}"/>
              </a:ext>
            </a:extLst>
          </p:cNvPr>
          <p:cNvSpPr/>
          <p:nvPr/>
        </p:nvSpPr>
        <p:spPr>
          <a:xfrm rot="5400000">
            <a:off x="4173650" y="3712573"/>
            <a:ext cx="875887" cy="211507"/>
          </a:xfrm>
          <a:prstGeom prst="triangl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TextBox 26">
            <a:extLst>
              <a:ext uri="{FF2B5EF4-FFF2-40B4-BE49-F238E27FC236}">
                <a16:creationId xmlns:a16="http://schemas.microsoft.com/office/drawing/2014/main" id="{1351EC1C-2D90-44A5-A689-54F3174F5D2C}"/>
              </a:ext>
            </a:extLst>
          </p:cNvPr>
          <p:cNvSpPr txBox="1">
            <a:spLocks/>
          </p:cNvSpPr>
          <p:nvPr/>
        </p:nvSpPr>
        <p:spPr>
          <a:xfrm>
            <a:off x="7424298" y="146062"/>
            <a:ext cx="2664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DASHBOARD</a:t>
            </a:r>
          </a:p>
        </p:txBody>
      </p:sp>
      <p:cxnSp>
        <p:nvCxnSpPr>
          <p:cNvPr id="39" name="Straight Connector 36">
            <a:extLst>
              <a:ext uri="{FF2B5EF4-FFF2-40B4-BE49-F238E27FC236}">
                <a16:creationId xmlns:a16="http://schemas.microsoft.com/office/drawing/2014/main" id="{C9C2A573-E8E3-4785-9E86-359718B390B9}"/>
              </a:ext>
            </a:extLst>
          </p:cNvPr>
          <p:cNvCxnSpPr/>
          <p:nvPr/>
        </p:nvCxnSpPr>
        <p:spPr>
          <a:xfrm>
            <a:off x="7536962" y="199069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26">
            <a:extLst>
              <a:ext uri="{FF2B5EF4-FFF2-40B4-BE49-F238E27FC236}">
                <a16:creationId xmlns:a16="http://schemas.microsoft.com/office/drawing/2014/main" id="{115417AB-D153-4318-A2F0-5CB3F295570D}"/>
              </a:ext>
            </a:extLst>
          </p:cNvPr>
          <p:cNvSpPr txBox="1">
            <a:spLocks/>
          </p:cNvSpPr>
          <p:nvPr/>
        </p:nvSpPr>
        <p:spPr>
          <a:xfrm>
            <a:off x="10103603" y="144968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CLUSION / Q&amp;A</a:t>
            </a:r>
          </a:p>
        </p:txBody>
      </p:sp>
      <p:cxnSp>
        <p:nvCxnSpPr>
          <p:cNvPr id="44" name="Straight Connector 36">
            <a:extLst>
              <a:ext uri="{FF2B5EF4-FFF2-40B4-BE49-F238E27FC236}">
                <a16:creationId xmlns:a16="http://schemas.microsoft.com/office/drawing/2014/main" id="{522046A7-7CBA-4FFF-B3D7-C16CD7FC30DA}"/>
              </a:ext>
            </a:extLst>
          </p:cNvPr>
          <p:cNvCxnSpPr/>
          <p:nvPr/>
        </p:nvCxnSpPr>
        <p:spPr>
          <a:xfrm>
            <a:off x="10081246" y="19745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23">
            <a:extLst>
              <a:ext uri="{FF2B5EF4-FFF2-40B4-BE49-F238E27FC236}">
                <a16:creationId xmlns:a16="http://schemas.microsoft.com/office/drawing/2014/main" id="{6336A900-F1DB-4BD3-9D23-38A522BD141B}"/>
              </a:ext>
            </a:extLst>
          </p:cNvPr>
          <p:cNvCxnSpPr>
            <a:cxnSpLocks/>
          </p:cNvCxnSpPr>
          <p:nvPr/>
        </p:nvCxnSpPr>
        <p:spPr>
          <a:xfrm flipV="1">
            <a:off x="7103948" y="540993"/>
            <a:ext cx="5118532" cy="11708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ectangle 48">
            <a:extLst>
              <a:ext uri="{FF2B5EF4-FFF2-40B4-BE49-F238E27FC236}">
                <a16:creationId xmlns:a16="http://schemas.microsoft.com/office/drawing/2014/main" id="{EA02D699-901D-4E80-B7A3-09293FEB435E}"/>
              </a:ext>
            </a:extLst>
          </p:cNvPr>
          <p:cNvSpPr/>
          <p:nvPr/>
        </p:nvSpPr>
        <p:spPr>
          <a:xfrm>
            <a:off x="353226" y="6410433"/>
            <a:ext cx="5373463" cy="2997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sz="1400" b="1" dirty="0">
                <a:solidFill>
                  <a:srgbClr val="2A0068"/>
                </a:solidFill>
              </a:rPr>
              <a:t>Source : </a:t>
            </a:r>
            <a:r>
              <a:rPr lang="fr-FR" sz="1400" dirty="0">
                <a:solidFill>
                  <a:srgbClr val="2A0068"/>
                </a:solidFill>
              </a:rPr>
              <a:t>instructions disponibles </a:t>
            </a:r>
            <a:r>
              <a:rPr lang="fr-FR" sz="1400" dirty="0">
                <a:solidFill>
                  <a:srgbClr val="2A0068"/>
                </a:solidFill>
                <a:hlinkClick r:id="rId8"/>
              </a:rPr>
              <a:t>ici</a:t>
            </a:r>
            <a:endParaRPr lang="fr-FR" sz="1400" dirty="0">
              <a:solidFill>
                <a:srgbClr val="2A006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625603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27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>
            <a:extLst>
              <a:ext uri="{FF2B5EF4-FFF2-40B4-BE49-F238E27FC236}">
                <a16:creationId xmlns:a16="http://schemas.microsoft.com/office/drawing/2014/main" id="{86A52CCD-9959-43E4-90E1-14C68071D2EF}"/>
              </a:ext>
            </a:extLst>
          </p:cNvPr>
          <p:cNvSpPr>
            <a:spLocks/>
          </p:cNvSpPr>
          <p:nvPr/>
        </p:nvSpPr>
        <p:spPr>
          <a:xfrm>
            <a:off x="-1546" y="0"/>
            <a:ext cx="12193545" cy="544108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sp>
        <p:nvSpPr>
          <p:cNvPr id="70" name="Oval 21">
            <a:extLst>
              <a:ext uri="{FF2B5EF4-FFF2-40B4-BE49-F238E27FC236}">
                <a16:creationId xmlns:a16="http://schemas.microsoft.com/office/drawing/2014/main" id="{21E00B41-C90D-4BDF-A077-C8F7B556C7BC}"/>
              </a:ext>
            </a:extLst>
          </p:cNvPr>
          <p:cNvSpPr>
            <a:spLocks/>
          </p:cNvSpPr>
          <p:nvPr/>
        </p:nvSpPr>
        <p:spPr>
          <a:xfrm>
            <a:off x="4891314" y="-223688"/>
            <a:ext cx="2409372" cy="1008000"/>
          </a:xfrm>
          <a:prstGeom prst="ellipse">
            <a:avLst/>
          </a:prstGeom>
          <a:solidFill>
            <a:srgbClr val="D7D8D7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solidFill>
                <a:srgbClr val="2A0068"/>
              </a:solidFill>
              <a:uFillTx/>
              <a:latin typeface="Baloo" panose="03080902040302020200" pitchFamily="66" charset="0"/>
              <a:cs typeface="Baloo" panose="03080902040302020200" pitchFamily="66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F990D0F-3A28-4858-B939-D0DB6600268A}"/>
              </a:ext>
            </a:extLst>
          </p:cNvPr>
          <p:cNvSpPr>
            <a:spLocks/>
          </p:cNvSpPr>
          <p:nvPr/>
        </p:nvSpPr>
        <p:spPr>
          <a:xfrm>
            <a:off x="4530058" y="-249582"/>
            <a:ext cx="3131884" cy="783727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cxnSp>
        <p:nvCxnSpPr>
          <p:cNvPr id="74" name="Straight Connector 36">
            <a:extLst>
              <a:ext uri="{FF2B5EF4-FFF2-40B4-BE49-F238E27FC236}">
                <a16:creationId xmlns:a16="http://schemas.microsoft.com/office/drawing/2014/main" id="{6AC8BA9A-5A95-442A-86B2-D6471C273567}"/>
              </a:ext>
            </a:extLst>
          </p:cNvPr>
          <p:cNvCxnSpPr/>
          <p:nvPr/>
        </p:nvCxnSpPr>
        <p:spPr>
          <a:xfrm>
            <a:off x="4696733" y="190333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36">
            <a:extLst>
              <a:ext uri="{FF2B5EF4-FFF2-40B4-BE49-F238E27FC236}">
                <a16:creationId xmlns:a16="http://schemas.microsoft.com/office/drawing/2014/main" id="{3F5750F7-3C85-48DA-BD57-0EB1C694D16F}"/>
              </a:ext>
            </a:extLst>
          </p:cNvPr>
          <p:cNvCxnSpPr/>
          <p:nvPr/>
        </p:nvCxnSpPr>
        <p:spPr>
          <a:xfrm>
            <a:off x="2028856" y="19759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26">
            <a:extLst>
              <a:ext uri="{FF2B5EF4-FFF2-40B4-BE49-F238E27FC236}">
                <a16:creationId xmlns:a16="http://schemas.microsoft.com/office/drawing/2014/main" id="{39F69F4E-3B4A-41B5-8C1D-64E9A4BC90EE}"/>
              </a:ext>
            </a:extLst>
          </p:cNvPr>
          <p:cNvSpPr txBox="1">
            <a:spLocks/>
          </p:cNvSpPr>
          <p:nvPr/>
        </p:nvSpPr>
        <p:spPr>
          <a:xfrm>
            <a:off x="7287" y="142281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rgbClr val="2A0068"/>
                </a:solidFill>
                <a:latin typeface="Trebuchet MS" panose="020B0603020202020204" pitchFamily="34" charset="0"/>
              </a:rPr>
              <a:t>CONTEXTE</a:t>
            </a:r>
          </a:p>
        </p:txBody>
      </p:sp>
      <p:sp>
        <p:nvSpPr>
          <p:cNvPr id="81" name="TextBox 26">
            <a:extLst>
              <a:ext uri="{FF2B5EF4-FFF2-40B4-BE49-F238E27FC236}">
                <a16:creationId xmlns:a16="http://schemas.microsoft.com/office/drawing/2014/main" id="{57D0B7C0-DC57-431F-8DD5-2F8B24747D09}"/>
              </a:ext>
            </a:extLst>
          </p:cNvPr>
          <p:cNvSpPr txBox="1">
            <a:spLocks/>
          </p:cNvSpPr>
          <p:nvPr/>
        </p:nvSpPr>
        <p:spPr>
          <a:xfrm>
            <a:off x="2059287" y="146805"/>
            <a:ext cx="2891751" cy="3059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MODÉLISATION</a:t>
            </a: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6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3" name="Image 2">
            <a:extLst>
              <a:ext uri="{FF2B5EF4-FFF2-40B4-BE49-F238E27FC236}">
                <a16:creationId xmlns:a16="http://schemas.microsoft.com/office/drawing/2014/main" id="{7A389926-05FB-4C34-A31D-E1334EF99F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8447" y="0"/>
            <a:ext cx="2524125" cy="495300"/>
          </a:xfrm>
          <a:prstGeom prst="rect">
            <a:avLst/>
          </a:prstGeom>
        </p:spPr>
      </p:pic>
      <p:cxnSp>
        <p:nvCxnSpPr>
          <p:cNvPr id="71" name="Straight Connector 22">
            <a:extLst>
              <a:ext uri="{FF2B5EF4-FFF2-40B4-BE49-F238E27FC236}">
                <a16:creationId xmlns:a16="http://schemas.microsoft.com/office/drawing/2014/main" id="{3E677F3D-C08E-49B3-BFF4-7E1553EE5144}"/>
              </a:ext>
            </a:extLst>
          </p:cNvPr>
          <p:cNvCxnSpPr>
            <a:cxnSpLocks/>
          </p:cNvCxnSpPr>
          <p:nvPr/>
        </p:nvCxnSpPr>
        <p:spPr>
          <a:xfrm>
            <a:off x="-21590" y="548496"/>
            <a:ext cx="5117779" cy="14365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B3E40F35-6F18-4795-94D0-0D751C6B0722}"/>
              </a:ext>
            </a:extLst>
          </p:cNvPr>
          <p:cNvSpPr/>
          <p:nvPr/>
        </p:nvSpPr>
        <p:spPr>
          <a:xfrm>
            <a:off x="353226" y="892388"/>
            <a:ext cx="11484000" cy="52322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800" b="1" dirty="0">
                <a:solidFill>
                  <a:srgbClr val="2A0068"/>
                </a:solidFill>
              </a:rPr>
              <a:t>Jeux de données disponible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5F6CA13-0500-4EA2-AFB2-194FE2DBE1CB}"/>
              </a:ext>
            </a:extLst>
          </p:cNvPr>
          <p:cNvSpPr/>
          <p:nvPr/>
        </p:nvSpPr>
        <p:spPr>
          <a:xfrm>
            <a:off x="353226" y="1579488"/>
            <a:ext cx="11484000" cy="47300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29698" name="Picture 2" descr="Data">
            <a:extLst>
              <a:ext uri="{FF2B5EF4-FFF2-40B4-BE49-F238E27FC236}">
                <a16:creationId xmlns:a16="http://schemas.microsoft.com/office/drawing/2014/main" id="{E341451F-6831-4699-9121-10B7FB7140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69226" y="1573491"/>
            <a:ext cx="7452000" cy="47841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8" name="Rectangle 37">
            <a:extLst>
              <a:ext uri="{FF2B5EF4-FFF2-40B4-BE49-F238E27FC236}">
                <a16:creationId xmlns:a16="http://schemas.microsoft.com/office/drawing/2014/main" id="{0C246FE7-C21F-4878-8EE6-C660369D0459}"/>
              </a:ext>
            </a:extLst>
          </p:cNvPr>
          <p:cNvSpPr/>
          <p:nvPr/>
        </p:nvSpPr>
        <p:spPr>
          <a:xfrm>
            <a:off x="353226" y="6410433"/>
            <a:ext cx="5373463" cy="2997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sz="1400" b="1" dirty="0">
                <a:solidFill>
                  <a:srgbClr val="2A0068"/>
                </a:solidFill>
              </a:rPr>
              <a:t>Source : </a:t>
            </a:r>
            <a:r>
              <a:rPr lang="fr-FR" sz="1400" dirty="0">
                <a:solidFill>
                  <a:srgbClr val="2A0068"/>
                </a:solidFill>
              </a:rPr>
              <a:t>données disponibles </a:t>
            </a:r>
            <a:r>
              <a:rPr lang="fr-FR" sz="1400" dirty="0">
                <a:solidFill>
                  <a:srgbClr val="2A0068"/>
                </a:solidFill>
                <a:hlinkClick r:id="rId8"/>
              </a:rPr>
              <a:t>ici</a:t>
            </a:r>
            <a:endParaRPr lang="fr-FR" sz="1400" dirty="0">
              <a:solidFill>
                <a:srgbClr val="2A0068"/>
              </a:solidFill>
            </a:endParaRPr>
          </a:p>
        </p:txBody>
      </p:sp>
      <p:sp>
        <p:nvSpPr>
          <p:cNvPr id="29" name="TextBox 26">
            <a:extLst>
              <a:ext uri="{FF2B5EF4-FFF2-40B4-BE49-F238E27FC236}">
                <a16:creationId xmlns:a16="http://schemas.microsoft.com/office/drawing/2014/main" id="{0530EC2B-C78B-4892-A2E7-C994E9116139}"/>
              </a:ext>
            </a:extLst>
          </p:cNvPr>
          <p:cNvSpPr txBox="1">
            <a:spLocks/>
          </p:cNvSpPr>
          <p:nvPr/>
        </p:nvSpPr>
        <p:spPr>
          <a:xfrm>
            <a:off x="7424298" y="146062"/>
            <a:ext cx="2664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DASHBOARD</a:t>
            </a:r>
          </a:p>
        </p:txBody>
      </p:sp>
      <p:cxnSp>
        <p:nvCxnSpPr>
          <p:cNvPr id="35" name="Straight Connector 36">
            <a:extLst>
              <a:ext uri="{FF2B5EF4-FFF2-40B4-BE49-F238E27FC236}">
                <a16:creationId xmlns:a16="http://schemas.microsoft.com/office/drawing/2014/main" id="{74D73DF6-4CEC-4C01-BB68-003A33AA0263}"/>
              </a:ext>
            </a:extLst>
          </p:cNvPr>
          <p:cNvCxnSpPr/>
          <p:nvPr/>
        </p:nvCxnSpPr>
        <p:spPr>
          <a:xfrm>
            <a:off x="7536962" y="199069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26">
            <a:extLst>
              <a:ext uri="{FF2B5EF4-FFF2-40B4-BE49-F238E27FC236}">
                <a16:creationId xmlns:a16="http://schemas.microsoft.com/office/drawing/2014/main" id="{3BF28542-B9A2-48C2-9DA2-EB159AD57CAC}"/>
              </a:ext>
            </a:extLst>
          </p:cNvPr>
          <p:cNvSpPr txBox="1">
            <a:spLocks/>
          </p:cNvSpPr>
          <p:nvPr/>
        </p:nvSpPr>
        <p:spPr>
          <a:xfrm>
            <a:off x="10103603" y="144968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CLUSION / Q&amp;A</a:t>
            </a: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AF40217F-767A-4856-9D59-99DA20575B40}"/>
              </a:ext>
            </a:extLst>
          </p:cNvPr>
          <p:cNvCxnSpPr/>
          <p:nvPr/>
        </p:nvCxnSpPr>
        <p:spPr>
          <a:xfrm>
            <a:off x="10081246" y="19745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23">
            <a:extLst>
              <a:ext uri="{FF2B5EF4-FFF2-40B4-BE49-F238E27FC236}">
                <a16:creationId xmlns:a16="http://schemas.microsoft.com/office/drawing/2014/main" id="{6B257E81-963E-4BDA-8104-BF099D75AB99}"/>
              </a:ext>
            </a:extLst>
          </p:cNvPr>
          <p:cNvCxnSpPr>
            <a:cxnSpLocks/>
          </p:cNvCxnSpPr>
          <p:nvPr/>
        </p:nvCxnSpPr>
        <p:spPr>
          <a:xfrm flipV="1">
            <a:off x="7103948" y="540993"/>
            <a:ext cx="5118532" cy="11708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9294994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03940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0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>
            <a:extLst>
              <a:ext uri="{FF2B5EF4-FFF2-40B4-BE49-F238E27FC236}">
                <a16:creationId xmlns:a16="http://schemas.microsoft.com/office/drawing/2014/main" id="{86A52CCD-9959-43E4-90E1-14C68071D2EF}"/>
              </a:ext>
            </a:extLst>
          </p:cNvPr>
          <p:cNvSpPr>
            <a:spLocks/>
          </p:cNvSpPr>
          <p:nvPr/>
        </p:nvSpPr>
        <p:spPr>
          <a:xfrm>
            <a:off x="-1546" y="0"/>
            <a:ext cx="12193545" cy="544108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sp>
        <p:nvSpPr>
          <p:cNvPr id="70" name="Oval 21">
            <a:extLst>
              <a:ext uri="{FF2B5EF4-FFF2-40B4-BE49-F238E27FC236}">
                <a16:creationId xmlns:a16="http://schemas.microsoft.com/office/drawing/2014/main" id="{21E00B41-C90D-4BDF-A077-C8F7B556C7BC}"/>
              </a:ext>
            </a:extLst>
          </p:cNvPr>
          <p:cNvSpPr>
            <a:spLocks/>
          </p:cNvSpPr>
          <p:nvPr/>
        </p:nvSpPr>
        <p:spPr>
          <a:xfrm>
            <a:off x="4891314" y="-223688"/>
            <a:ext cx="2409372" cy="1008000"/>
          </a:xfrm>
          <a:prstGeom prst="ellipse">
            <a:avLst/>
          </a:prstGeom>
          <a:solidFill>
            <a:srgbClr val="D7D8D7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solidFill>
                <a:srgbClr val="2A0068"/>
              </a:solidFill>
              <a:uFillTx/>
              <a:latin typeface="Baloo" panose="03080902040302020200" pitchFamily="66" charset="0"/>
              <a:cs typeface="Baloo" panose="03080902040302020200" pitchFamily="66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F990D0F-3A28-4858-B939-D0DB6600268A}"/>
              </a:ext>
            </a:extLst>
          </p:cNvPr>
          <p:cNvSpPr>
            <a:spLocks/>
          </p:cNvSpPr>
          <p:nvPr/>
        </p:nvSpPr>
        <p:spPr>
          <a:xfrm>
            <a:off x="4530058" y="-249582"/>
            <a:ext cx="3131884" cy="783727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cxnSp>
        <p:nvCxnSpPr>
          <p:cNvPr id="74" name="Straight Connector 36">
            <a:extLst>
              <a:ext uri="{FF2B5EF4-FFF2-40B4-BE49-F238E27FC236}">
                <a16:creationId xmlns:a16="http://schemas.microsoft.com/office/drawing/2014/main" id="{6AC8BA9A-5A95-442A-86B2-D6471C273567}"/>
              </a:ext>
            </a:extLst>
          </p:cNvPr>
          <p:cNvCxnSpPr/>
          <p:nvPr/>
        </p:nvCxnSpPr>
        <p:spPr>
          <a:xfrm>
            <a:off x="4696733" y="190333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36">
            <a:extLst>
              <a:ext uri="{FF2B5EF4-FFF2-40B4-BE49-F238E27FC236}">
                <a16:creationId xmlns:a16="http://schemas.microsoft.com/office/drawing/2014/main" id="{3F5750F7-3C85-48DA-BD57-0EB1C694D16F}"/>
              </a:ext>
            </a:extLst>
          </p:cNvPr>
          <p:cNvCxnSpPr/>
          <p:nvPr/>
        </p:nvCxnSpPr>
        <p:spPr>
          <a:xfrm>
            <a:off x="2028856" y="19759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26">
            <a:extLst>
              <a:ext uri="{FF2B5EF4-FFF2-40B4-BE49-F238E27FC236}">
                <a16:creationId xmlns:a16="http://schemas.microsoft.com/office/drawing/2014/main" id="{39F69F4E-3B4A-41B5-8C1D-64E9A4BC90EE}"/>
              </a:ext>
            </a:extLst>
          </p:cNvPr>
          <p:cNvSpPr txBox="1">
            <a:spLocks/>
          </p:cNvSpPr>
          <p:nvPr/>
        </p:nvSpPr>
        <p:spPr>
          <a:xfrm>
            <a:off x="7287" y="142281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rgbClr val="2A0068"/>
                </a:solidFill>
                <a:latin typeface="Trebuchet MS" panose="020B0603020202020204" pitchFamily="34" charset="0"/>
              </a:rPr>
              <a:t>CONTEXTE</a:t>
            </a:r>
          </a:p>
        </p:txBody>
      </p:sp>
      <p:sp>
        <p:nvSpPr>
          <p:cNvPr id="81" name="TextBox 26">
            <a:extLst>
              <a:ext uri="{FF2B5EF4-FFF2-40B4-BE49-F238E27FC236}">
                <a16:creationId xmlns:a16="http://schemas.microsoft.com/office/drawing/2014/main" id="{57D0B7C0-DC57-431F-8DD5-2F8B24747D09}"/>
              </a:ext>
            </a:extLst>
          </p:cNvPr>
          <p:cNvSpPr txBox="1">
            <a:spLocks/>
          </p:cNvSpPr>
          <p:nvPr/>
        </p:nvSpPr>
        <p:spPr>
          <a:xfrm>
            <a:off x="2059287" y="146805"/>
            <a:ext cx="2891751" cy="3059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MODÉLISATION</a:t>
            </a: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7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3" name="Image 2">
            <a:extLst>
              <a:ext uri="{FF2B5EF4-FFF2-40B4-BE49-F238E27FC236}">
                <a16:creationId xmlns:a16="http://schemas.microsoft.com/office/drawing/2014/main" id="{7A389926-05FB-4C34-A31D-E1334EF99F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8447" y="0"/>
            <a:ext cx="2524125" cy="495300"/>
          </a:xfrm>
          <a:prstGeom prst="rect">
            <a:avLst/>
          </a:prstGeom>
        </p:spPr>
      </p:pic>
      <p:cxnSp>
        <p:nvCxnSpPr>
          <p:cNvPr id="71" name="Straight Connector 22">
            <a:extLst>
              <a:ext uri="{FF2B5EF4-FFF2-40B4-BE49-F238E27FC236}">
                <a16:creationId xmlns:a16="http://schemas.microsoft.com/office/drawing/2014/main" id="{3E677F3D-C08E-49B3-BFF4-7E1553EE5144}"/>
              </a:ext>
            </a:extLst>
          </p:cNvPr>
          <p:cNvCxnSpPr>
            <a:cxnSpLocks/>
          </p:cNvCxnSpPr>
          <p:nvPr/>
        </p:nvCxnSpPr>
        <p:spPr>
          <a:xfrm>
            <a:off x="-21590" y="548496"/>
            <a:ext cx="5117779" cy="14365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B3E40F35-6F18-4795-94D0-0D751C6B0722}"/>
              </a:ext>
            </a:extLst>
          </p:cNvPr>
          <p:cNvSpPr/>
          <p:nvPr/>
        </p:nvSpPr>
        <p:spPr>
          <a:xfrm>
            <a:off x="353226" y="892388"/>
            <a:ext cx="11484000" cy="52322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800" b="1" dirty="0">
                <a:solidFill>
                  <a:srgbClr val="2A0068"/>
                </a:solidFill>
              </a:rPr>
              <a:t>Mise en place du feature engineering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5F6CA13-0500-4EA2-AFB2-194FE2DBE1CB}"/>
              </a:ext>
            </a:extLst>
          </p:cNvPr>
          <p:cNvSpPr/>
          <p:nvPr/>
        </p:nvSpPr>
        <p:spPr>
          <a:xfrm>
            <a:off x="292266" y="1579488"/>
            <a:ext cx="11484000" cy="47300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0C246FE7-C21F-4878-8EE6-C660369D0459}"/>
              </a:ext>
            </a:extLst>
          </p:cNvPr>
          <p:cNvSpPr/>
          <p:nvPr/>
        </p:nvSpPr>
        <p:spPr>
          <a:xfrm>
            <a:off x="353226" y="6410433"/>
            <a:ext cx="5373463" cy="2997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sz="1400" b="1" dirty="0">
                <a:solidFill>
                  <a:srgbClr val="2A0068"/>
                </a:solidFill>
              </a:rPr>
              <a:t>Source : </a:t>
            </a:r>
            <a:r>
              <a:rPr lang="fr-FR" sz="1400" dirty="0">
                <a:solidFill>
                  <a:srgbClr val="2A0068"/>
                </a:solidFill>
              </a:rPr>
              <a:t>notebook </a:t>
            </a:r>
            <a:r>
              <a:rPr lang="fr-FR" sz="1400" dirty="0">
                <a:solidFill>
                  <a:srgbClr val="2A0068"/>
                </a:solidFill>
                <a:hlinkClick r:id="rId7"/>
              </a:rPr>
              <a:t>issu de Kaggle</a:t>
            </a:r>
            <a:endParaRPr lang="fr-FR" sz="1400" dirty="0">
              <a:solidFill>
                <a:srgbClr val="2A0068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DC25688F-74C0-47C5-9D25-049C4F7EA97B}"/>
              </a:ext>
            </a:extLst>
          </p:cNvPr>
          <p:cNvSpPr/>
          <p:nvPr/>
        </p:nvSpPr>
        <p:spPr>
          <a:xfrm>
            <a:off x="1083927" y="1766892"/>
            <a:ext cx="6392075" cy="72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2000" dirty="0">
                <a:solidFill>
                  <a:srgbClr val="2A0068"/>
                </a:solidFill>
              </a:rPr>
              <a:t>Traitement des colonnes avec un </a:t>
            </a:r>
            <a:r>
              <a:rPr lang="fr-FR" sz="2000" b="1" dirty="0">
                <a:solidFill>
                  <a:srgbClr val="2A0068"/>
                </a:solidFill>
              </a:rPr>
              <a:t>taux de NaN supérieur à 40% </a:t>
            </a:r>
            <a:r>
              <a:rPr lang="fr-FR" sz="2000" dirty="0">
                <a:solidFill>
                  <a:srgbClr val="2A0068"/>
                </a:solidFill>
              </a:rPr>
              <a:t>(considérées comme moins utilisables que les autres)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59567DD1-956A-4EE4-85CD-6685F6805C7D}"/>
              </a:ext>
            </a:extLst>
          </p:cNvPr>
          <p:cNvSpPr/>
          <p:nvPr/>
        </p:nvSpPr>
        <p:spPr>
          <a:xfrm>
            <a:off x="1083927" y="2665787"/>
            <a:ext cx="6392075" cy="72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2000" b="1" dirty="0">
                <a:solidFill>
                  <a:srgbClr val="2A0068"/>
                </a:solidFill>
              </a:rPr>
              <a:t>Imputation de la médiane par colonne </a:t>
            </a:r>
            <a:r>
              <a:rPr lang="fr-FR" sz="2000" dirty="0">
                <a:solidFill>
                  <a:srgbClr val="2A0068"/>
                </a:solidFill>
              </a:rPr>
              <a:t>dans les NaN restants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92DF4723-14D1-4BE3-A3D5-4A4AFB5C070C}"/>
              </a:ext>
            </a:extLst>
          </p:cNvPr>
          <p:cNvSpPr/>
          <p:nvPr/>
        </p:nvSpPr>
        <p:spPr>
          <a:xfrm>
            <a:off x="1077626" y="3591562"/>
            <a:ext cx="6392075" cy="72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2000" b="1" dirty="0">
                <a:solidFill>
                  <a:srgbClr val="2A0068"/>
                </a:solidFill>
              </a:rPr>
              <a:t>Vérification de la « qualité » </a:t>
            </a:r>
            <a:r>
              <a:rPr lang="fr-FR" sz="2000" dirty="0">
                <a:solidFill>
                  <a:srgbClr val="2A0068"/>
                </a:solidFill>
              </a:rPr>
              <a:t>de nos données, avec gestion des colonnes problématiques par rapport à nos attentes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DDEF0294-3171-4988-B173-D8C36A73A6AE}"/>
              </a:ext>
            </a:extLst>
          </p:cNvPr>
          <p:cNvSpPr/>
          <p:nvPr/>
        </p:nvSpPr>
        <p:spPr>
          <a:xfrm>
            <a:off x="1083927" y="4466871"/>
            <a:ext cx="6392075" cy="72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2000" b="1" dirty="0">
                <a:solidFill>
                  <a:srgbClr val="2A0068"/>
                </a:solidFill>
              </a:rPr>
              <a:t>Obtention de nouvelles variables </a:t>
            </a:r>
            <a:r>
              <a:rPr lang="fr-FR" sz="2000" dirty="0">
                <a:solidFill>
                  <a:srgbClr val="2A0068"/>
                </a:solidFill>
              </a:rPr>
              <a:t>à partir d’</a:t>
            </a:r>
            <a:r>
              <a:rPr lang="fr-FR" sz="2000" b="1" dirty="0">
                <a:solidFill>
                  <a:srgbClr val="2A0068"/>
                </a:solidFill>
              </a:rPr>
              <a:t>agrégats numériques et catégoriels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033842D1-F62C-4043-ADE2-868B9E55203F}"/>
              </a:ext>
            </a:extLst>
          </p:cNvPr>
          <p:cNvSpPr/>
          <p:nvPr/>
        </p:nvSpPr>
        <p:spPr>
          <a:xfrm>
            <a:off x="1077626" y="5392646"/>
            <a:ext cx="6392075" cy="72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2000" b="1" dirty="0">
                <a:solidFill>
                  <a:srgbClr val="2A0068"/>
                </a:solidFill>
              </a:rPr>
              <a:t>Création de features métiers</a:t>
            </a:r>
          </a:p>
        </p:txBody>
      </p:sp>
      <p:sp>
        <p:nvSpPr>
          <p:cNvPr id="41" name="Triangle isocèle 40">
            <a:extLst>
              <a:ext uri="{FF2B5EF4-FFF2-40B4-BE49-F238E27FC236}">
                <a16:creationId xmlns:a16="http://schemas.microsoft.com/office/drawing/2014/main" id="{6A07CC9E-788F-4847-88AF-ECC6449E8B4F}"/>
              </a:ext>
            </a:extLst>
          </p:cNvPr>
          <p:cNvSpPr/>
          <p:nvPr/>
        </p:nvSpPr>
        <p:spPr>
          <a:xfrm rot="5400000">
            <a:off x="7516290" y="3845808"/>
            <a:ext cx="875887" cy="211507"/>
          </a:xfrm>
          <a:prstGeom prst="triangl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762C981F-DBAD-475D-9AC8-700E1E2829B3}"/>
              </a:ext>
            </a:extLst>
          </p:cNvPr>
          <p:cNvSpPr/>
          <p:nvPr/>
        </p:nvSpPr>
        <p:spPr>
          <a:xfrm>
            <a:off x="8463445" y="5277928"/>
            <a:ext cx="2880001" cy="80264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i="1" dirty="0">
                <a:solidFill>
                  <a:srgbClr val="2A0068"/>
                </a:solidFill>
              </a:rPr>
              <a:t>Obtention d’un jeu de données de 356k clients </a:t>
            </a:r>
            <a:r>
              <a:rPr lang="fr-FR" i="1" dirty="0">
                <a:solidFill>
                  <a:srgbClr val="2A0068"/>
                </a:solidFill>
              </a:rPr>
              <a:t>(train + test) et </a:t>
            </a:r>
            <a:r>
              <a:rPr lang="fr-FR" b="1" i="1" dirty="0">
                <a:solidFill>
                  <a:srgbClr val="2A0068"/>
                </a:solidFill>
              </a:rPr>
              <a:t>28 variables</a:t>
            </a:r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F17A0836-0338-440D-9989-E7A330172A3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463445" y="1908798"/>
            <a:ext cx="2880000" cy="322328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43" name="TextBox 26">
            <a:extLst>
              <a:ext uri="{FF2B5EF4-FFF2-40B4-BE49-F238E27FC236}">
                <a16:creationId xmlns:a16="http://schemas.microsoft.com/office/drawing/2014/main" id="{29A8A82A-5F33-4900-AD80-E2EB21EE6440}"/>
              </a:ext>
            </a:extLst>
          </p:cNvPr>
          <p:cNvSpPr txBox="1">
            <a:spLocks/>
          </p:cNvSpPr>
          <p:nvPr/>
        </p:nvSpPr>
        <p:spPr>
          <a:xfrm>
            <a:off x="7424298" y="146062"/>
            <a:ext cx="2664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DASHBOARD</a:t>
            </a:r>
          </a:p>
        </p:txBody>
      </p:sp>
      <p:cxnSp>
        <p:nvCxnSpPr>
          <p:cNvPr id="44" name="Straight Connector 36">
            <a:extLst>
              <a:ext uri="{FF2B5EF4-FFF2-40B4-BE49-F238E27FC236}">
                <a16:creationId xmlns:a16="http://schemas.microsoft.com/office/drawing/2014/main" id="{68CBC1CE-3C20-445D-8B31-1CFD23B99F8B}"/>
              </a:ext>
            </a:extLst>
          </p:cNvPr>
          <p:cNvCxnSpPr/>
          <p:nvPr/>
        </p:nvCxnSpPr>
        <p:spPr>
          <a:xfrm>
            <a:off x="7536962" y="199069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Box 26">
            <a:extLst>
              <a:ext uri="{FF2B5EF4-FFF2-40B4-BE49-F238E27FC236}">
                <a16:creationId xmlns:a16="http://schemas.microsoft.com/office/drawing/2014/main" id="{6C54F3A4-22FB-4449-B214-84BA81D05B79}"/>
              </a:ext>
            </a:extLst>
          </p:cNvPr>
          <p:cNvSpPr txBox="1">
            <a:spLocks/>
          </p:cNvSpPr>
          <p:nvPr/>
        </p:nvSpPr>
        <p:spPr>
          <a:xfrm>
            <a:off x="10103603" y="144968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CLUSION / Q&amp;A</a:t>
            </a:r>
          </a:p>
        </p:txBody>
      </p:sp>
      <p:cxnSp>
        <p:nvCxnSpPr>
          <p:cNvPr id="46" name="Straight Connector 36">
            <a:extLst>
              <a:ext uri="{FF2B5EF4-FFF2-40B4-BE49-F238E27FC236}">
                <a16:creationId xmlns:a16="http://schemas.microsoft.com/office/drawing/2014/main" id="{DD247A26-EE97-4C56-AF31-7F63F8F99979}"/>
              </a:ext>
            </a:extLst>
          </p:cNvPr>
          <p:cNvCxnSpPr/>
          <p:nvPr/>
        </p:nvCxnSpPr>
        <p:spPr>
          <a:xfrm>
            <a:off x="10081246" y="19745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23">
            <a:extLst>
              <a:ext uri="{FF2B5EF4-FFF2-40B4-BE49-F238E27FC236}">
                <a16:creationId xmlns:a16="http://schemas.microsoft.com/office/drawing/2014/main" id="{A026AEE9-2FC4-42DF-A260-7389DF238A8C}"/>
              </a:ext>
            </a:extLst>
          </p:cNvPr>
          <p:cNvCxnSpPr>
            <a:cxnSpLocks/>
          </p:cNvCxnSpPr>
          <p:nvPr/>
        </p:nvCxnSpPr>
        <p:spPr>
          <a:xfrm flipV="1">
            <a:off x="7103948" y="540993"/>
            <a:ext cx="5118532" cy="11708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Rectangle : coins arrondis 50">
            <a:extLst>
              <a:ext uri="{FF2B5EF4-FFF2-40B4-BE49-F238E27FC236}">
                <a16:creationId xmlns:a16="http://schemas.microsoft.com/office/drawing/2014/main" id="{E6A011DF-5126-47D0-A4AD-61D60A910FB2}"/>
              </a:ext>
            </a:extLst>
          </p:cNvPr>
          <p:cNvSpPr/>
          <p:nvPr/>
        </p:nvSpPr>
        <p:spPr>
          <a:xfrm>
            <a:off x="488555" y="4460084"/>
            <a:ext cx="720000" cy="720000"/>
          </a:xfrm>
          <a:prstGeom prst="round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0" name="Rectangle : coins arrondis 49">
            <a:extLst>
              <a:ext uri="{FF2B5EF4-FFF2-40B4-BE49-F238E27FC236}">
                <a16:creationId xmlns:a16="http://schemas.microsoft.com/office/drawing/2014/main" id="{4280B1A8-F0DF-49E4-A4C7-2E9BBC571B57}"/>
              </a:ext>
            </a:extLst>
          </p:cNvPr>
          <p:cNvSpPr/>
          <p:nvPr/>
        </p:nvSpPr>
        <p:spPr>
          <a:xfrm>
            <a:off x="488555" y="3576204"/>
            <a:ext cx="720000" cy="720000"/>
          </a:xfrm>
          <a:prstGeom prst="round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8" name="Rectangle : coins arrondis 47">
            <a:extLst>
              <a:ext uri="{FF2B5EF4-FFF2-40B4-BE49-F238E27FC236}">
                <a16:creationId xmlns:a16="http://schemas.microsoft.com/office/drawing/2014/main" id="{4DF4F207-CB81-4D13-A825-B05D8F295BA5}"/>
              </a:ext>
            </a:extLst>
          </p:cNvPr>
          <p:cNvSpPr/>
          <p:nvPr/>
        </p:nvSpPr>
        <p:spPr>
          <a:xfrm>
            <a:off x="473245" y="2660629"/>
            <a:ext cx="720000" cy="720000"/>
          </a:xfrm>
          <a:prstGeom prst="round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2" name="Rectangle : coins arrondis 51">
            <a:extLst>
              <a:ext uri="{FF2B5EF4-FFF2-40B4-BE49-F238E27FC236}">
                <a16:creationId xmlns:a16="http://schemas.microsoft.com/office/drawing/2014/main" id="{A88E63E0-FA90-4B04-90C1-4CA73D182050}"/>
              </a:ext>
            </a:extLst>
          </p:cNvPr>
          <p:cNvSpPr/>
          <p:nvPr/>
        </p:nvSpPr>
        <p:spPr>
          <a:xfrm>
            <a:off x="473245" y="5385516"/>
            <a:ext cx="720000" cy="720000"/>
          </a:xfrm>
          <a:prstGeom prst="round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" name="Rectangle : coins arrondis 3">
            <a:extLst>
              <a:ext uri="{FF2B5EF4-FFF2-40B4-BE49-F238E27FC236}">
                <a16:creationId xmlns:a16="http://schemas.microsoft.com/office/drawing/2014/main" id="{52575D6F-DAD7-431B-9120-824ECBEE4356}"/>
              </a:ext>
            </a:extLst>
          </p:cNvPr>
          <p:cNvSpPr/>
          <p:nvPr/>
        </p:nvSpPr>
        <p:spPr>
          <a:xfrm>
            <a:off x="488555" y="1761734"/>
            <a:ext cx="720000" cy="720000"/>
          </a:xfrm>
          <a:prstGeom prst="round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25" name="Graphique 24" descr="Loupe avec un remplissage uni">
            <a:extLst>
              <a:ext uri="{FF2B5EF4-FFF2-40B4-BE49-F238E27FC236}">
                <a16:creationId xmlns:a16="http://schemas.microsoft.com/office/drawing/2014/main" id="{B8E52F45-DBA3-40B1-8A63-F2273187758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99866" y="1756732"/>
            <a:ext cx="720000" cy="720000"/>
          </a:xfrm>
          <a:prstGeom prst="rect">
            <a:avLst/>
          </a:prstGeom>
        </p:spPr>
      </p:pic>
      <p:pic>
        <p:nvPicPr>
          <p:cNvPr id="6" name="Graphique 5" descr="Liste de contrôle avec un remplissage uni">
            <a:extLst>
              <a:ext uri="{FF2B5EF4-FFF2-40B4-BE49-F238E27FC236}">
                <a16:creationId xmlns:a16="http://schemas.microsoft.com/office/drawing/2014/main" id="{0EC88E70-7CB8-40F1-96EE-29D2EFB13E0A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479546" y="2675662"/>
            <a:ext cx="720000" cy="720000"/>
          </a:xfrm>
          <a:prstGeom prst="rect">
            <a:avLst/>
          </a:prstGeom>
        </p:spPr>
      </p:pic>
      <p:pic>
        <p:nvPicPr>
          <p:cNvPr id="8" name="Graphique 7" descr="Presse-papiers badge avec un remplissage uni">
            <a:extLst>
              <a:ext uri="{FF2B5EF4-FFF2-40B4-BE49-F238E27FC236}">
                <a16:creationId xmlns:a16="http://schemas.microsoft.com/office/drawing/2014/main" id="{8C0F0266-F4F1-4864-AA6D-0F970D18AAC2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489706" y="3567673"/>
            <a:ext cx="720000" cy="720000"/>
          </a:xfrm>
          <a:prstGeom prst="rect">
            <a:avLst/>
          </a:prstGeom>
        </p:spPr>
      </p:pic>
      <p:pic>
        <p:nvPicPr>
          <p:cNvPr id="10" name="Graphique 9" descr="Formes simples avec un remplissage uni">
            <a:extLst>
              <a:ext uri="{FF2B5EF4-FFF2-40B4-BE49-F238E27FC236}">
                <a16:creationId xmlns:a16="http://schemas.microsoft.com/office/drawing/2014/main" id="{14CACF1D-B82D-400F-AA2E-782F9D82E041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489706" y="4461713"/>
            <a:ext cx="720000" cy="720000"/>
          </a:xfrm>
          <a:prstGeom prst="rect">
            <a:avLst/>
          </a:prstGeom>
        </p:spPr>
      </p:pic>
      <p:pic>
        <p:nvPicPr>
          <p:cNvPr id="12" name="Graphique 11" descr="Mille avec un remplissage uni">
            <a:extLst>
              <a:ext uri="{FF2B5EF4-FFF2-40B4-BE49-F238E27FC236}">
                <a16:creationId xmlns:a16="http://schemas.microsoft.com/office/drawing/2014/main" id="{A91A837D-FE9B-4CE4-893F-17CEF2C2DB4C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479546" y="5392646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396127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74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>
            <a:extLst>
              <a:ext uri="{FF2B5EF4-FFF2-40B4-BE49-F238E27FC236}">
                <a16:creationId xmlns:a16="http://schemas.microsoft.com/office/drawing/2014/main" id="{86A52CCD-9959-43E4-90E1-14C68071D2EF}"/>
              </a:ext>
            </a:extLst>
          </p:cNvPr>
          <p:cNvSpPr>
            <a:spLocks/>
          </p:cNvSpPr>
          <p:nvPr/>
        </p:nvSpPr>
        <p:spPr>
          <a:xfrm>
            <a:off x="-1546" y="0"/>
            <a:ext cx="12193545" cy="544108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sp>
        <p:nvSpPr>
          <p:cNvPr id="70" name="Oval 21">
            <a:extLst>
              <a:ext uri="{FF2B5EF4-FFF2-40B4-BE49-F238E27FC236}">
                <a16:creationId xmlns:a16="http://schemas.microsoft.com/office/drawing/2014/main" id="{21E00B41-C90D-4BDF-A077-C8F7B556C7BC}"/>
              </a:ext>
            </a:extLst>
          </p:cNvPr>
          <p:cNvSpPr>
            <a:spLocks/>
          </p:cNvSpPr>
          <p:nvPr/>
        </p:nvSpPr>
        <p:spPr>
          <a:xfrm>
            <a:off x="4891314" y="-223688"/>
            <a:ext cx="2409372" cy="1008000"/>
          </a:xfrm>
          <a:prstGeom prst="ellipse">
            <a:avLst/>
          </a:prstGeom>
          <a:solidFill>
            <a:srgbClr val="D7D8D7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solidFill>
                <a:srgbClr val="2A0068"/>
              </a:solidFill>
              <a:uFillTx/>
              <a:latin typeface="Baloo" panose="03080902040302020200" pitchFamily="66" charset="0"/>
              <a:cs typeface="Baloo" panose="03080902040302020200" pitchFamily="66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F990D0F-3A28-4858-B939-D0DB6600268A}"/>
              </a:ext>
            </a:extLst>
          </p:cNvPr>
          <p:cNvSpPr>
            <a:spLocks/>
          </p:cNvSpPr>
          <p:nvPr/>
        </p:nvSpPr>
        <p:spPr>
          <a:xfrm>
            <a:off x="4530058" y="-249582"/>
            <a:ext cx="3131884" cy="783727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cxnSp>
        <p:nvCxnSpPr>
          <p:cNvPr id="74" name="Straight Connector 36">
            <a:extLst>
              <a:ext uri="{FF2B5EF4-FFF2-40B4-BE49-F238E27FC236}">
                <a16:creationId xmlns:a16="http://schemas.microsoft.com/office/drawing/2014/main" id="{6AC8BA9A-5A95-442A-86B2-D6471C273567}"/>
              </a:ext>
            </a:extLst>
          </p:cNvPr>
          <p:cNvCxnSpPr/>
          <p:nvPr/>
        </p:nvCxnSpPr>
        <p:spPr>
          <a:xfrm>
            <a:off x="4696733" y="190333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36">
            <a:extLst>
              <a:ext uri="{FF2B5EF4-FFF2-40B4-BE49-F238E27FC236}">
                <a16:creationId xmlns:a16="http://schemas.microsoft.com/office/drawing/2014/main" id="{3F5750F7-3C85-48DA-BD57-0EB1C694D16F}"/>
              </a:ext>
            </a:extLst>
          </p:cNvPr>
          <p:cNvCxnSpPr/>
          <p:nvPr/>
        </p:nvCxnSpPr>
        <p:spPr>
          <a:xfrm>
            <a:off x="2028856" y="19759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26">
            <a:extLst>
              <a:ext uri="{FF2B5EF4-FFF2-40B4-BE49-F238E27FC236}">
                <a16:creationId xmlns:a16="http://schemas.microsoft.com/office/drawing/2014/main" id="{39F69F4E-3B4A-41B5-8C1D-64E9A4BC90EE}"/>
              </a:ext>
            </a:extLst>
          </p:cNvPr>
          <p:cNvSpPr txBox="1">
            <a:spLocks/>
          </p:cNvSpPr>
          <p:nvPr/>
        </p:nvSpPr>
        <p:spPr>
          <a:xfrm>
            <a:off x="7287" y="142281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rgbClr val="2A0068"/>
                </a:solidFill>
                <a:latin typeface="Trebuchet MS" panose="020B0603020202020204" pitchFamily="34" charset="0"/>
              </a:rPr>
              <a:t>CONTEXTE</a:t>
            </a:r>
          </a:p>
        </p:txBody>
      </p:sp>
      <p:sp>
        <p:nvSpPr>
          <p:cNvPr id="81" name="TextBox 26">
            <a:extLst>
              <a:ext uri="{FF2B5EF4-FFF2-40B4-BE49-F238E27FC236}">
                <a16:creationId xmlns:a16="http://schemas.microsoft.com/office/drawing/2014/main" id="{57D0B7C0-DC57-431F-8DD5-2F8B24747D09}"/>
              </a:ext>
            </a:extLst>
          </p:cNvPr>
          <p:cNvSpPr txBox="1">
            <a:spLocks/>
          </p:cNvSpPr>
          <p:nvPr/>
        </p:nvSpPr>
        <p:spPr>
          <a:xfrm>
            <a:off x="2059287" y="146805"/>
            <a:ext cx="2891751" cy="3059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MODÉLISATION</a:t>
            </a: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8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3" name="Image 2">
            <a:extLst>
              <a:ext uri="{FF2B5EF4-FFF2-40B4-BE49-F238E27FC236}">
                <a16:creationId xmlns:a16="http://schemas.microsoft.com/office/drawing/2014/main" id="{7A389926-05FB-4C34-A31D-E1334EF99F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8447" y="0"/>
            <a:ext cx="2524125" cy="495300"/>
          </a:xfrm>
          <a:prstGeom prst="rect">
            <a:avLst/>
          </a:prstGeom>
        </p:spPr>
      </p:pic>
      <p:cxnSp>
        <p:nvCxnSpPr>
          <p:cNvPr id="71" name="Straight Connector 22">
            <a:extLst>
              <a:ext uri="{FF2B5EF4-FFF2-40B4-BE49-F238E27FC236}">
                <a16:creationId xmlns:a16="http://schemas.microsoft.com/office/drawing/2014/main" id="{3E677F3D-C08E-49B3-BFF4-7E1553EE5144}"/>
              </a:ext>
            </a:extLst>
          </p:cNvPr>
          <p:cNvCxnSpPr>
            <a:cxnSpLocks/>
          </p:cNvCxnSpPr>
          <p:nvPr/>
        </p:nvCxnSpPr>
        <p:spPr>
          <a:xfrm>
            <a:off x="-21590" y="548496"/>
            <a:ext cx="5117779" cy="14365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B3E40F35-6F18-4795-94D0-0D751C6B0722}"/>
              </a:ext>
            </a:extLst>
          </p:cNvPr>
          <p:cNvSpPr/>
          <p:nvPr/>
        </p:nvSpPr>
        <p:spPr>
          <a:xfrm>
            <a:off x="353226" y="892388"/>
            <a:ext cx="11484000" cy="52322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800" b="1" dirty="0">
                <a:solidFill>
                  <a:srgbClr val="2A0068"/>
                </a:solidFill>
              </a:rPr>
              <a:t>Présentation de nos variable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5F6CA13-0500-4EA2-AFB2-194FE2DBE1CB}"/>
              </a:ext>
            </a:extLst>
          </p:cNvPr>
          <p:cNvSpPr/>
          <p:nvPr/>
        </p:nvSpPr>
        <p:spPr>
          <a:xfrm>
            <a:off x="353226" y="1579488"/>
            <a:ext cx="11484000" cy="47300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BE02C6F5-460E-4399-A34A-5CE6C5D382AD}"/>
              </a:ext>
            </a:extLst>
          </p:cNvPr>
          <p:cNvSpPr/>
          <p:nvPr/>
        </p:nvSpPr>
        <p:spPr>
          <a:xfrm>
            <a:off x="834544" y="1818131"/>
            <a:ext cx="3429372" cy="202851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dirty="0">
                <a:solidFill>
                  <a:srgbClr val="2A0068"/>
                </a:solidFill>
              </a:rPr>
              <a:t>1 variable id pour </a:t>
            </a:r>
            <a:r>
              <a:rPr lang="fr-FR" sz="2000" b="1" dirty="0">
                <a:solidFill>
                  <a:srgbClr val="2A0068"/>
                </a:solidFill>
              </a:rPr>
              <a:t>chaque demande de prêt</a:t>
            </a:r>
          </a:p>
          <a:p>
            <a:pPr algn="ctr"/>
            <a:endParaRPr lang="fr-FR" sz="2000" dirty="0">
              <a:solidFill>
                <a:srgbClr val="2A0068"/>
              </a:solidFill>
            </a:endParaRPr>
          </a:p>
          <a:p>
            <a:pPr algn="ctr"/>
            <a:r>
              <a:rPr lang="fr-FR" sz="1600" i="1" dirty="0">
                <a:solidFill>
                  <a:srgbClr val="2A0068"/>
                </a:solidFill>
              </a:rPr>
              <a:t>(applicant_loan_id)</a:t>
            </a:r>
            <a:endParaRPr lang="fr-FR" i="1" dirty="0">
              <a:solidFill>
                <a:srgbClr val="2A0068"/>
              </a:solidFill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2018B0F0-DFB5-4CBA-858C-788C2113FBE9}"/>
              </a:ext>
            </a:extLst>
          </p:cNvPr>
          <p:cNvSpPr/>
          <p:nvPr/>
        </p:nvSpPr>
        <p:spPr>
          <a:xfrm>
            <a:off x="4416142" y="1818131"/>
            <a:ext cx="3429372" cy="202851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dirty="0">
                <a:solidFill>
                  <a:srgbClr val="2A0068"/>
                </a:solidFill>
              </a:rPr>
              <a:t>1 variable à prédire </a:t>
            </a:r>
            <a:r>
              <a:rPr lang="fr-FR" sz="2000" b="1" dirty="0">
                <a:solidFill>
                  <a:srgbClr val="2A0068"/>
                </a:solidFill>
              </a:rPr>
              <a:t>répartie en deux classes</a:t>
            </a:r>
          </a:p>
          <a:p>
            <a:pPr algn="ctr"/>
            <a:endParaRPr lang="fr-FR" sz="2000" b="1" dirty="0">
              <a:solidFill>
                <a:srgbClr val="2A0068"/>
              </a:solidFill>
            </a:endParaRPr>
          </a:p>
          <a:p>
            <a:pPr algn="ctr"/>
            <a:r>
              <a:rPr lang="fr-FR" sz="1600" i="1" dirty="0">
                <a:solidFill>
                  <a:srgbClr val="2A0068"/>
                </a:solidFill>
              </a:rPr>
              <a:t>(target)</a:t>
            </a:r>
            <a:endParaRPr lang="fr-FR" i="1" dirty="0">
              <a:solidFill>
                <a:srgbClr val="2A0068"/>
              </a:solidFill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DFD3039C-6D01-4DA0-BF5D-E91ACD63B6C2}"/>
              </a:ext>
            </a:extLst>
          </p:cNvPr>
          <p:cNvSpPr/>
          <p:nvPr/>
        </p:nvSpPr>
        <p:spPr>
          <a:xfrm>
            <a:off x="7997740" y="1818131"/>
            <a:ext cx="3429372" cy="202851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dirty="0">
                <a:solidFill>
                  <a:srgbClr val="2A0068"/>
                </a:solidFill>
              </a:rPr>
              <a:t>10 variables </a:t>
            </a:r>
            <a:r>
              <a:rPr lang="fr-FR" sz="2000" b="1" dirty="0">
                <a:solidFill>
                  <a:srgbClr val="2A0068"/>
                </a:solidFill>
              </a:rPr>
              <a:t>déjà présentes </a:t>
            </a:r>
            <a:r>
              <a:rPr lang="fr-FR" sz="2000" dirty="0">
                <a:solidFill>
                  <a:srgbClr val="2A0068"/>
                </a:solidFill>
              </a:rPr>
              <a:t>dans nos différents data sets</a:t>
            </a:r>
          </a:p>
          <a:p>
            <a:pPr algn="ctr"/>
            <a:endParaRPr lang="fr-FR" sz="2000" b="1" i="1" dirty="0">
              <a:solidFill>
                <a:srgbClr val="2A0068"/>
              </a:solidFill>
            </a:endParaRPr>
          </a:p>
          <a:p>
            <a:pPr algn="ctr"/>
            <a:r>
              <a:rPr lang="fr-FR" sz="1600" i="1" dirty="0">
                <a:solidFill>
                  <a:srgbClr val="2A0068"/>
                </a:solidFill>
              </a:rPr>
              <a:t>(</a:t>
            </a:r>
            <a:r>
              <a:rPr lang="fr-FR" sz="1600" i="1" dirty="0" err="1">
                <a:solidFill>
                  <a:srgbClr val="2A0068"/>
                </a:solidFill>
              </a:rPr>
              <a:t>credit_payment_type</a:t>
            </a:r>
            <a:r>
              <a:rPr lang="fr-FR" sz="1600" i="1" dirty="0">
                <a:solidFill>
                  <a:srgbClr val="2A0068"/>
                </a:solidFill>
              </a:rPr>
              <a:t>, </a:t>
            </a:r>
            <a:r>
              <a:rPr lang="fr-FR" sz="1600" i="1" dirty="0" err="1">
                <a:solidFill>
                  <a:srgbClr val="2A0068"/>
                </a:solidFill>
              </a:rPr>
              <a:t>applicant_gender</a:t>
            </a:r>
            <a:r>
              <a:rPr lang="fr-FR" sz="1600" i="1" dirty="0">
                <a:solidFill>
                  <a:srgbClr val="2A0068"/>
                </a:solidFill>
              </a:rPr>
              <a:t>…)</a:t>
            </a:r>
            <a:endParaRPr lang="fr-FR" i="1" dirty="0">
              <a:solidFill>
                <a:srgbClr val="2A0068"/>
              </a:solidFill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C6527E38-3770-4FB1-A2C3-68ED82220CAD}"/>
              </a:ext>
            </a:extLst>
          </p:cNvPr>
          <p:cNvSpPr/>
          <p:nvPr/>
        </p:nvSpPr>
        <p:spPr>
          <a:xfrm>
            <a:off x="834544" y="3986790"/>
            <a:ext cx="3429372" cy="202851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dirty="0">
                <a:solidFill>
                  <a:srgbClr val="2A0068"/>
                </a:solidFill>
              </a:rPr>
              <a:t>9 variables métiers créées </a:t>
            </a:r>
            <a:r>
              <a:rPr lang="fr-FR" sz="2000" b="1" dirty="0">
                <a:solidFill>
                  <a:srgbClr val="2A0068"/>
                </a:solidFill>
              </a:rPr>
              <a:t>à partir de nos connaissances du domaine </a:t>
            </a:r>
          </a:p>
          <a:p>
            <a:pPr algn="ctr"/>
            <a:endParaRPr lang="fr-FR" sz="2000" dirty="0">
              <a:solidFill>
                <a:srgbClr val="2A0068"/>
              </a:solidFill>
            </a:endParaRPr>
          </a:p>
          <a:p>
            <a:pPr algn="ctr"/>
            <a:r>
              <a:rPr lang="fr-FR" sz="1600" i="1" dirty="0">
                <a:solidFill>
                  <a:srgbClr val="2A0068"/>
                </a:solidFill>
              </a:rPr>
              <a:t>(</a:t>
            </a:r>
            <a:r>
              <a:rPr lang="fr-FR" sz="1600" i="1" dirty="0" err="1">
                <a:solidFill>
                  <a:srgbClr val="2A0068"/>
                </a:solidFill>
              </a:rPr>
              <a:t>applicant_age</a:t>
            </a:r>
            <a:r>
              <a:rPr lang="fr-FR" sz="1600" i="1" dirty="0">
                <a:solidFill>
                  <a:srgbClr val="2A0068"/>
                </a:solidFill>
              </a:rPr>
              <a:t>, </a:t>
            </a:r>
            <a:r>
              <a:rPr lang="fr-FR" sz="1600" i="1" dirty="0" err="1">
                <a:solidFill>
                  <a:srgbClr val="2A0068"/>
                </a:solidFill>
              </a:rPr>
              <a:t>annuity_share_to_income</a:t>
            </a:r>
            <a:r>
              <a:rPr lang="fr-FR" sz="1600" i="1" dirty="0">
                <a:solidFill>
                  <a:srgbClr val="2A0068"/>
                </a:solidFill>
              </a:rPr>
              <a:t>…)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1453F448-D215-431B-9A63-76DE30093B6B}"/>
              </a:ext>
            </a:extLst>
          </p:cNvPr>
          <p:cNvSpPr/>
          <p:nvPr/>
        </p:nvSpPr>
        <p:spPr>
          <a:xfrm>
            <a:off x="4416142" y="3986790"/>
            <a:ext cx="3429372" cy="202851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dirty="0">
                <a:solidFill>
                  <a:srgbClr val="2A0068"/>
                </a:solidFill>
              </a:rPr>
              <a:t>6 variables créées sur la </a:t>
            </a:r>
            <a:r>
              <a:rPr lang="fr-FR" sz="2000" b="1" dirty="0">
                <a:solidFill>
                  <a:srgbClr val="2A0068"/>
                </a:solidFill>
              </a:rPr>
              <a:t>base d’agrégats</a:t>
            </a:r>
          </a:p>
          <a:p>
            <a:pPr algn="ctr"/>
            <a:endParaRPr lang="fr-FR" sz="2000" b="1" i="1" dirty="0">
              <a:solidFill>
                <a:srgbClr val="2A0068"/>
              </a:solidFill>
            </a:endParaRPr>
          </a:p>
          <a:p>
            <a:pPr algn="ctr"/>
            <a:r>
              <a:rPr lang="fr-FR" sz="1600" i="1" dirty="0">
                <a:solidFill>
                  <a:srgbClr val="2A0068"/>
                </a:solidFill>
              </a:rPr>
              <a:t>(bureau_count_past_loans, </a:t>
            </a:r>
            <a:r>
              <a:rPr lang="fr-FR" sz="1600" i="1" dirty="0" err="1">
                <a:solidFill>
                  <a:srgbClr val="2A0068"/>
                </a:solidFill>
              </a:rPr>
              <a:t>bureau_count_credit_prolongations</a:t>
            </a:r>
            <a:r>
              <a:rPr lang="fr-FR" sz="1600" i="1" dirty="0">
                <a:solidFill>
                  <a:srgbClr val="2A0068"/>
                </a:solidFill>
              </a:rPr>
              <a:t>…)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2D29662A-40C5-4ED5-B149-9DA6FD7CA7C1}"/>
              </a:ext>
            </a:extLst>
          </p:cNvPr>
          <p:cNvSpPr/>
          <p:nvPr/>
        </p:nvSpPr>
        <p:spPr>
          <a:xfrm>
            <a:off x="7997740" y="3986790"/>
            <a:ext cx="3429372" cy="202851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b="1" dirty="0">
                <a:solidFill>
                  <a:schemeClr val="bg1">
                    <a:lumMod val="75000"/>
                  </a:schemeClr>
                </a:solidFill>
              </a:rPr>
              <a:t>1 variable utilisée pour le traitement </a:t>
            </a:r>
            <a:r>
              <a:rPr lang="fr-FR" sz="2000" dirty="0">
                <a:solidFill>
                  <a:schemeClr val="bg1">
                    <a:lumMod val="75000"/>
                  </a:schemeClr>
                </a:solidFill>
              </a:rPr>
              <a:t>mais supprimée avant la modalisation</a:t>
            </a:r>
          </a:p>
          <a:p>
            <a:pPr algn="ctr"/>
            <a:endParaRPr lang="fr-FR" sz="2000" i="1" dirty="0">
              <a:solidFill>
                <a:schemeClr val="bg1">
                  <a:lumMod val="75000"/>
                </a:schemeClr>
              </a:solidFill>
            </a:endParaRPr>
          </a:p>
          <a:p>
            <a:pPr algn="ctr"/>
            <a:r>
              <a:rPr lang="fr-FR" sz="1600" i="1" dirty="0">
                <a:solidFill>
                  <a:schemeClr val="bg1">
                    <a:lumMod val="75000"/>
                  </a:schemeClr>
                </a:solidFill>
              </a:rPr>
              <a:t>(</a:t>
            </a:r>
            <a:r>
              <a:rPr lang="fr-FR" sz="1600" i="1" dirty="0" err="1">
                <a:solidFill>
                  <a:schemeClr val="bg1">
                    <a:lumMod val="75000"/>
                  </a:schemeClr>
                </a:solidFill>
              </a:rPr>
              <a:t>type_of_set</a:t>
            </a:r>
            <a:r>
              <a:rPr lang="fr-FR" sz="1600" i="1" dirty="0">
                <a:solidFill>
                  <a:schemeClr val="bg1">
                    <a:lumMod val="75000"/>
                  </a:schemeClr>
                </a:solidFill>
              </a:rPr>
              <a:t>)</a:t>
            </a:r>
          </a:p>
        </p:txBody>
      </p:sp>
      <p:sp>
        <p:nvSpPr>
          <p:cNvPr id="29" name="TextBox 26">
            <a:extLst>
              <a:ext uri="{FF2B5EF4-FFF2-40B4-BE49-F238E27FC236}">
                <a16:creationId xmlns:a16="http://schemas.microsoft.com/office/drawing/2014/main" id="{69762398-4E11-49BE-B1BF-AA6921023FD0}"/>
              </a:ext>
            </a:extLst>
          </p:cNvPr>
          <p:cNvSpPr txBox="1">
            <a:spLocks/>
          </p:cNvSpPr>
          <p:nvPr/>
        </p:nvSpPr>
        <p:spPr>
          <a:xfrm>
            <a:off x="7424298" y="146062"/>
            <a:ext cx="2664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DASHBOARD</a:t>
            </a:r>
          </a:p>
        </p:txBody>
      </p:sp>
      <p:cxnSp>
        <p:nvCxnSpPr>
          <p:cNvPr id="35" name="Straight Connector 36">
            <a:extLst>
              <a:ext uri="{FF2B5EF4-FFF2-40B4-BE49-F238E27FC236}">
                <a16:creationId xmlns:a16="http://schemas.microsoft.com/office/drawing/2014/main" id="{4EA27F70-29B6-417C-BAA6-F4521369FBB4}"/>
              </a:ext>
            </a:extLst>
          </p:cNvPr>
          <p:cNvCxnSpPr/>
          <p:nvPr/>
        </p:nvCxnSpPr>
        <p:spPr>
          <a:xfrm>
            <a:off x="7536962" y="199069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26">
            <a:extLst>
              <a:ext uri="{FF2B5EF4-FFF2-40B4-BE49-F238E27FC236}">
                <a16:creationId xmlns:a16="http://schemas.microsoft.com/office/drawing/2014/main" id="{E42716F6-A29A-46DC-B18B-49F4A46138EF}"/>
              </a:ext>
            </a:extLst>
          </p:cNvPr>
          <p:cNvSpPr txBox="1">
            <a:spLocks/>
          </p:cNvSpPr>
          <p:nvPr/>
        </p:nvSpPr>
        <p:spPr>
          <a:xfrm>
            <a:off x="10103603" y="144968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CLUSION / Q&amp;A</a:t>
            </a: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D9E8FAF2-E31B-482A-8A36-EC3EB76B062B}"/>
              </a:ext>
            </a:extLst>
          </p:cNvPr>
          <p:cNvCxnSpPr/>
          <p:nvPr/>
        </p:nvCxnSpPr>
        <p:spPr>
          <a:xfrm>
            <a:off x="10081246" y="19745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23">
            <a:extLst>
              <a:ext uri="{FF2B5EF4-FFF2-40B4-BE49-F238E27FC236}">
                <a16:creationId xmlns:a16="http://schemas.microsoft.com/office/drawing/2014/main" id="{05550772-90F5-4A95-A68E-F1FF46A000F3}"/>
              </a:ext>
            </a:extLst>
          </p:cNvPr>
          <p:cNvCxnSpPr>
            <a:cxnSpLocks/>
          </p:cNvCxnSpPr>
          <p:nvPr/>
        </p:nvCxnSpPr>
        <p:spPr>
          <a:xfrm flipV="1">
            <a:off x="7103948" y="540993"/>
            <a:ext cx="5118532" cy="11708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6533563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76808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02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>
            <a:extLst>
              <a:ext uri="{FF2B5EF4-FFF2-40B4-BE49-F238E27FC236}">
                <a16:creationId xmlns:a16="http://schemas.microsoft.com/office/drawing/2014/main" id="{86A52CCD-9959-43E4-90E1-14C68071D2EF}"/>
              </a:ext>
            </a:extLst>
          </p:cNvPr>
          <p:cNvSpPr>
            <a:spLocks/>
          </p:cNvSpPr>
          <p:nvPr/>
        </p:nvSpPr>
        <p:spPr>
          <a:xfrm>
            <a:off x="-1546" y="0"/>
            <a:ext cx="12193545" cy="544108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sp>
        <p:nvSpPr>
          <p:cNvPr id="70" name="Oval 21">
            <a:extLst>
              <a:ext uri="{FF2B5EF4-FFF2-40B4-BE49-F238E27FC236}">
                <a16:creationId xmlns:a16="http://schemas.microsoft.com/office/drawing/2014/main" id="{21E00B41-C90D-4BDF-A077-C8F7B556C7BC}"/>
              </a:ext>
            </a:extLst>
          </p:cNvPr>
          <p:cNvSpPr>
            <a:spLocks/>
          </p:cNvSpPr>
          <p:nvPr/>
        </p:nvSpPr>
        <p:spPr>
          <a:xfrm>
            <a:off x="4891314" y="-223688"/>
            <a:ext cx="2409372" cy="1008000"/>
          </a:xfrm>
          <a:prstGeom prst="ellipse">
            <a:avLst/>
          </a:prstGeom>
          <a:solidFill>
            <a:srgbClr val="D7D8D7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solidFill>
                <a:srgbClr val="2A0068"/>
              </a:solidFill>
              <a:uFillTx/>
              <a:latin typeface="Baloo" panose="03080902040302020200" pitchFamily="66" charset="0"/>
              <a:cs typeface="Baloo" panose="03080902040302020200" pitchFamily="66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F990D0F-3A28-4858-B939-D0DB6600268A}"/>
              </a:ext>
            </a:extLst>
          </p:cNvPr>
          <p:cNvSpPr>
            <a:spLocks/>
          </p:cNvSpPr>
          <p:nvPr/>
        </p:nvSpPr>
        <p:spPr>
          <a:xfrm>
            <a:off x="4530058" y="-249582"/>
            <a:ext cx="3131884" cy="783727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cxnSp>
        <p:nvCxnSpPr>
          <p:cNvPr id="74" name="Straight Connector 36">
            <a:extLst>
              <a:ext uri="{FF2B5EF4-FFF2-40B4-BE49-F238E27FC236}">
                <a16:creationId xmlns:a16="http://schemas.microsoft.com/office/drawing/2014/main" id="{6AC8BA9A-5A95-442A-86B2-D6471C273567}"/>
              </a:ext>
            </a:extLst>
          </p:cNvPr>
          <p:cNvCxnSpPr/>
          <p:nvPr/>
        </p:nvCxnSpPr>
        <p:spPr>
          <a:xfrm>
            <a:off x="4696733" y="190333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36">
            <a:extLst>
              <a:ext uri="{FF2B5EF4-FFF2-40B4-BE49-F238E27FC236}">
                <a16:creationId xmlns:a16="http://schemas.microsoft.com/office/drawing/2014/main" id="{3F5750F7-3C85-48DA-BD57-0EB1C694D16F}"/>
              </a:ext>
            </a:extLst>
          </p:cNvPr>
          <p:cNvCxnSpPr/>
          <p:nvPr/>
        </p:nvCxnSpPr>
        <p:spPr>
          <a:xfrm>
            <a:off x="2028856" y="19759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26">
            <a:extLst>
              <a:ext uri="{FF2B5EF4-FFF2-40B4-BE49-F238E27FC236}">
                <a16:creationId xmlns:a16="http://schemas.microsoft.com/office/drawing/2014/main" id="{39F69F4E-3B4A-41B5-8C1D-64E9A4BC90EE}"/>
              </a:ext>
            </a:extLst>
          </p:cNvPr>
          <p:cNvSpPr txBox="1">
            <a:spLocks/>
          </p:cNvSpPr>
          <p:nvPr/>
        </p:nvSpPr>
        <p:spPr>
          <a:xfrm>
            <a:off x="7287" y="142281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rgbClr val="2A0068"/>
                </a:solidFill>
                <a:latin typeface="Trebuchet MS" panose="020B0603020202020204" pitchFamily="34" charset="0"/>
              </a:rPr>
              <a:t>CONTEXTE</a:t>
            </a:r>
          </a:p>
        </p:txBody>
      </p:sp>
      <p:sp>
        <p:nvSpPr>
          <p:cNvPr id="81" name="TextBox 26">
            <a:extLst>
              <a:ext uri="{FF2B5EF4-FFF2-40B4-BE49-F238E27FC236}">
                <a16:creationId xmlns:a16="http://schemas.microsoft.com/office/drawing/2014/main" id="{57D0B7C0-DC57-431F-8DD5-2F8B24747D09}"/>
              </a:ext>
            </a:extLst>
          </p:cNvPr>
          <p:cNvSpPr txBox="1">
            <a:spLocks/>
          </p:cNvSpPr>
          <p:nvPr/>
        </p:nvSpPr>
        <p:spPr>
          <a:xfrm>
            <a:off x="2059287" y="146805"/>
            <a:ext cx="2891751" cy="3059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MODÉLISATION</a:t>
            </a:r>
          </a:p>
        </p:txBody>
      </p:sp>
      <p:sp>
        <p:nvSpPr>
          <p:cNvPr id="84" name="TextBox 26">
            <a:extLst>
              <a:ext uri="{FF2B5EF4-FFF2-40B4-BE49-F238E27FC236}">
                <a16:creationId xmlns:a16="http://schemas.microsoft.com/office/drawing/2014/main" id="{1E58C3BE-332E-4F11-B42C-F57336CE0B8D}"/>
              </a:ext>
            </a:extLst>
          </p:cNvPr>
          <p:cNvSpPr txBox="1">
            <a:spLocks/>
          </p:cNvSpPr>
          <p:nvPr/>
        </p:nvSpPr>
        <p:spPr>
          <a:xfrm>
            <a:off x="7424298" y="146062"/>
            <a:ext cx="2664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DASHBOARD</a:t>
            </a:r>
          </a:p>
        </p:txBody>
      </p:sp>
      <p:cxnSp>
        <p:nvCxnSpPr>
          <p:cNvPr id="85" name="Straight Connector 36">
            <a:extLst>
              <a:ext uri="{FF2B5EF4-FFF2-40B4-BE49-F238E27FC236}">
                <a16:creationId xmlns:a16="http://schemas.microsoft.com/office/drawing/2014/main" id="{411CB50C-1596-4CB9-9B0E-267D9C2F34B7}"/>
              </a:ext>
            </a:extLst>
          </p:cNvPr>
          <p:cNvCxnSpPr/>
          <p:nvPr/>
        </p:nvCxnSpPr>
        <p:spPr>
          <a:xfrm>
            <a:off x="7536962" y="199069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Box 26">
            <a:extLst>
              <a:ext uri="{FF2B5EF4-FFF2-40B4-BE49-F238E27FC236}">
                <a16:creationId xmlns:a16="http://schemas.microsoft.com/office/drawing/2014/main" id="{8E08889D-90B1-4A70-870B-25FADA1C2B74}"/>
              </a:ext>
            </a:extLst>
          </p:cNvPr>
          <p:cNvSpPr txBox="1">
            <a:spLocks/>
          </p:cNvSpPr>
          <p:nvPr/>
        </p:nvSpPr>
        <p:spPr>
          <a:xfrm>
            <a:off x="10103603" y="144968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CLUSION / Q&amp;A</a:t>
            </a:r>
          </a:p>
        </p:txBody>
      </p:sp>
      <p:cxnSp>
        <p:nvCxnSpPr>
          <p:cNvPr id="87" name="Straight Connector 36">
            <a:extLst>
              <a:ext uri="{FF2B5EF4-FFF2-40B4-BE49-F238E27FC236}">
                <a16:creationId xmlns:a16="http://schemas.microsoft.com/office/drawing/2014/main" id="{31239E27-F713-401B-8124-334323060D0F}"/>
              </a:ext>
            </a:extLst>
          </p:cNvPr>
          <p:cNvCxnSpPr/>
          <p:nvPr/>
        </p:nvCxnSpPr>
        <p:spPr>
          <a:xfrm>
            <a:off x="10081246" y="19745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9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3" name="Image 2">
            <a:extLst>
              <a:ext uri="{FF2B5EF4-FFF2-40B4-BE49-F238E27FC236}">
                <a16:creationId xmlns:a16="http://schemas.microsoft.com/office/drawing/2014/main" id="{7A389926-05FB-4C34-A31D-E1334EF99F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8447" y="0"/>
            <a:ext cx="2524125" cy="495300"/>
          </a:xfrm>
          <a:prstGeom prst="rect">
            <a:avLst/>
          </a:prstGeom>
        </p:spPr>
      </p:pic>
      <p:cxnSp>
        <p:nvCxnSpPr>
          <p:cNvPr id="72" name="Straight Connector 23">
            <a:extLst>
              <a:ext uri="{FF2B5EF4-FFF2-40B4-BE49-F238E27FC236}">
                <a16:creationId xmlns:a16="http://schemas.microsoft.com/office/drawing/2014/main" id="{458739B1-4232-4A83-872D-8C59735FB7B8}"/>
              </a:ext>
            </a:extLst>
          </p:cNvPr>
          <p:cNvCxnSpPr>
            <a:cxnSpLocks/>
          </p:cNvCxnSpPr>
          <p:nvPr/>
        </p:nvCxnSpPr>
        <p:spPr>
          <a:xfrm flipV="1">
            <a:off x="7103948" y="540993"/>
            <a:ext cx="5118532" cy="11708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22">
            <a:extLst>
              <a:ext uri="{FF2B5EF4-FFF2-40B4-BE49-F238E27FC236}">
                <a16:creationId xmlns:a16="http://schemas.microsoft.com/office/drawing/2014/main" id="{3E677F3D-C08E-49B3-BFF4-7E1553EE5144}"/>
              </a:ext>
            </a:extLst>
          </p:cNvPr>
          <p:cNvCxnSpPr>
            <a:cxnSpLocks/>
          </p:cNvCxnSpPr>
          <p:nvPr/>
        </p:nvCxnSpPr>
        <p:spPr>
          <a:xfrm>
            <a:off x="-21590" y="548496"/>
            <a:ext cx="5117779" cy="14365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B3E40F35-6F18-4795-94D0-0D751C6B0722}"/>
              </a:ext>
            </a:extLst>
          </p:cNvPr>
          <p:cNvSpPr/>
          <p:nvPr/>
        </p:nvSpPr>
        <p:spPr>
          <a:xfrm>
            <a:off x="353226" y="892388"/>
            <a:ext cx="11484000" cy="52322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800" b="1" dirty="0">
                <a:solidFill>
                  <a:srgbClr val="2A0068"/>
                </a:solidFill>
              </a:rPr>
              <a:t>Résolution du déséquilibre entre les classes à prédir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5F6CA13-0500-4EA2-AFB2-194FE2DBE1CB}"/>
              </a:ext>
            </a:extLst>
          </p:cNvPr>
          <p:cNvSpPr/>
          <p:nvPr/>
        </p:nvSpPr>
        <p:spPr>
          <a:xfrm>
            <a:off x="353226" y="1579488"/>
            <a:ext cx="11484000" cy="47300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EBA340A8-FF29-4822-8688-7854D21F5A20}"/>
              </a:ext>
            </a:extLst>
          </p:cNvPr>
          <p:cNvSpPr/>
          <p:nvPr/>
        </p:nvSpPr>
        <p:spPr>
          <a:xfrm>
            <a:off x="603190" y="2086302"/>
            <a:ext cx="5040000" cy="403951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5738" indent="-185738">
              <a:buFont typeface="Arial" panose="020B0604020202020204" pitchFamily="34" charset="0"/>
              <a:buChar char="•"/>
            </a:pPr>
            <a:r>
              <a:rPr lang="fr-FR" sz="2000" dirty="0">
                <a:solidFill>
                  <a:srgbClr val="2A0068"/>
                </a:solidFill>
              </a:rPr>
              <a:t>Notre base de données est déséquilibrée du point de vue des classes qu’elles contient : 92% de nos clients remboursent leur prêt (valeur = 0) ; </a:t>
            </a:r>
            <a:r>
              <a:rPr lang="fr-FR" sz="2000" b="1" dirty="0">
                <a:solidFill>
                  <a:srgbClr val="2A0068"/>
                </a:solidFill>
              </a:rPr>
              <a:t>seulement 8% ne le remboursent pas </a:t>
            </a:r>
            <a:r>
              <a:rPr lang="fr-FR" sz="2000" dirty="0">
                <a:solidFill>
                  <a:srgbClr val="2A0068"/>
                </a:solidFill>
              </a:rPr>
              <a:t>(valeur = 1)</a:t>
            </a:r>
          </a:p>
          <a:p>
            <a:pPr marL="185738" indent="-185738">
              <a:buFont typeface="Arial" panose="020B0604020202020204" pitchFamily="34" charset="0"/>
              <a:buChar char="•"/>
            </a:pPr>
            <a:r>
              <a:rPr lang="fr-FR" sz="2000" dirty="0">
                <a:solidFill>
                  <a:srgbClr val="2A0068"/>
                </a:solidFill>
              </a:rPr>
              <a:t>Alors que notre objectif reste bien de classifier ces clients en particulier, on sait que </a:t>
            </a:r>
            <a:r>
              <a:rPr lang="fr-FR" sz="2000" b="1" dirty="0">
                <a:solidFill>
                  <a:srgbClr val="2A0068"/>
                </a:solidFill>
              </a:rPr>
              <a:t>la plupart des algos fonctionnent mieux avec un nombre d’échantillon à peu près égal dans chaque classe</a:t>
            </a:r>
          </a:p>
          <a:p>
            <a:pPr marL="185738" indent="-185738">
              <a:buFont typeface="Arial" panose="020B0604020202020204" pitchFamily="34" charset="0"/>
              <a:buChar char="•"/>
            </a:pPr>
            <a:r>
              <a:rPr lang="fr-FR" sz="2000" dirty="0">
                <a:solidFill>
                  <a:srgbClr val="2A0068"/>
                </a:solidFill>
              </a:rPr>
              <a:t>Il y aura donc bien ici </a:t>
            </a:r>
            <a:r>
              <a:rPr lang="fr-FR" sz="2000" b="1" dirty="0">
                <a:solidFill>
                  <a:srgbClr val="2A0068"/>
                </a:solidFill>
              </a:rPr>
              <a:t>potentiellement une problématique de surreprésentation de la classe majoritaire dans la prédiction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1788A50B-7134-4D69-B0A2-074C84E2F1AA}"/>
              </a:ext>
            </a:extLst>
          </p:cNvPr>
          <p:cNvSpPr/>
          <p:nvPr/>
        </p:nvSpPr>
        <p:spPr>
          <a:xfrm>
            <a:off x="603190" y="1627771"/>
            <a:ext cx="5040000" cy="339416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sz="1800" b="1" dirty="0">
                <a:solidFill>
                  <a:schemeClr val="bg1"/>
                </a:solidFill>
              </a:rPr>
              <a:t>Problématique</a:t>
            </a:r>
          </a:p>
        </p:txBody>
      </p:sp>
      <p:cxnSp>
        <p:nvCxnSpPr>
          <p:cNvPr id="27" name="Connecteur droit 26">
            <a:extLst>
              <a:ext uri="{FF2B5EF4-FFF2-40B4-BE49-F238E27FC236}">
                <a16:creationId xmlns:a16="http://schemas.microsoft.com/office/drawing/2014/main" id="{9AB9E3FC-6A84-4B4C-8682-CA237C11C429}"/>
              </a:ext>
            </a:extLst>
          </p:cNvPr>
          <p:cNvCxnSpPr/>
          <p:nvPr/>
        </p:nvCxnSpPr>
        <p:spPr>
          <a:xfrm flipV="1">
            <a:off x="603190" y="2022015"/>
            <a:ext cx="5040000" cy="0"/>
          </a:xfrm>
          <a:prstGeom prst="line">
            <a:avLst/>
          </a:prstGeom>
          <a:ln>
            <a:solidFill>
              <a:srgbClr val="2A00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tangle 27">
            <a:extLst>
              <a:ext uri="{FF2B5EF4-FFF2-40B4-BE49-F238E27FC236}">
                <a16:creationId xmlns:a16="http://schemas.microsoft.com/office/drawing/2014/main" id="{636A7B45-17BB-4215-A6B0-76E563D54192}"/>
              </a:ext>
            </a:extLst>
          </p:cNvPr>
          <p:cNvSpPr/>
          <p:nvPr/>
        </p:nvSpPr>
        <p:spPr>
          <a:xfrm>
            <a:off x="6297352" y="1627771"/>
            <a:ext cx="5364117" cy="339416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b="1" dirty="0">
                <a:solidFill>
                  <a:schemeClr val="bg1"/>
                </a:solidFill>
              </a:rPr>
              <a:t>Possibles s</a:t>
            </a:r>
            <a:r>
              <a:rPr lang="fr-FR" sz="1800" b="1" dirty="0">
                <a:solidFill>
                  <a:schemeClr val="bg1"/>
                </a:solidFill>
              </a:rPr>
              <a:t>olutions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E6E624BB-48E2-4DCA-A98E-4B012379ED4F}"/>
              </a:ext>
            </a:extLst>
          </p:cNvPr>
          <p:cNvSpPr/>
          <p:nvPr/>
        </p:nvSpPr>
        <p:spPr>
          <a:xfrm>
            <a:off x="6447067" y="2167985"/>
            <a:ext cx="5212836" cy="4900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5738" indent="-185738">
              <a:buFont typeface="Arial" panose="020B0604020202020204" pitchFamily="34" charset="0"/>
              <a:buChar char="•"/>
            </a:pPr>
            <a:r>
              <a:rPr lang="fr-FR" sz="1800" dirty="0">
                <a:solidFill>
                  <a:srgbClr val="2A0068"/>
                </a:solidFill>
              </a:rPr>
              <a:t>Changer la </a:t>
            </a:r>
            <a:r>
              <a:rPr lang="fr-FR" sz="1800" b="1" dirty="0">
                <a:solidFill>
                  <a:srgbClr val="2A0068"/>
                </a:solidFill>
              </a:rPr>
              <a:t>structure au global </a:t>
            </a:r>
            <a:r>
              <a:rPr lang="fr-FR" sz="1800" dirty="0">
                <a:solidFill>
                  <a:srgbClr val="2A0068"/>
                </a:solidFill>
              </a:rPr>
              <a:t>de l’algorithme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D04EDB21-5C9E-4362-B392-AEC6BFAAEA34}"/>
              </a:ext>
            </a:extLst>
          </p:cNvPr>
          <p:cNvSpPr/>
          <p:nvPr/>
        </p:nvSpPr>
        <p:spPr>
          <a:xfrm>
            <a:off x="6447067" y="3295922"/>
            <a:ext cx="5212836" cy="4900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5738" indent="-185738">
              <a:buFont typeface="Arial" panose="020B0604020202020204" pitchFamily="34" charset="0"/>
              <a:buChar char="•"/>
            </a:pPr>
            <a:r>
              <a:rPr lang="fr-FR" sz="1800" b="1" dirty="0">
                <a:solidFill>
                  <a:srgbClr val="2A0068"/>
                </a:solidFill>
              </a:rPr>
              <a:t>Collecter plus de données </a:t>
            </a:r>
            <a:r>
              <a:rPr lang="fr-FR" sz="1800" dirty="0">
                <a:solidFill>
                  <a:srgbClr val="2A0068"/>
                </a:solidFill>
              </a:rPr>
              <a:t>sur la classe minoritaire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222E569E-484C-4090-A78E-7B43B2A8FFF3}"/>
              </a:ext>
            </a:extLst>
          </p:cNvPr>
          <p:cNvSpPr/>
          <p:nvPr/>
        </p:nvSpPr>
        <p:spPr>
          <a:xfrm>
            <a:off x="6447067" y="3857493"/>
            <a:ext cx="5212836" cy="4900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5738" indent="-185738">
              <a:buFont typeface="Arial" panose="020B0604020202020204" pitchFamily="34" charset="0"/>
              <a:buChar char="•"/>
            </a:pPr>
            <a:r>
              <a:rPr lang="fr-FR" sz="1800" b="1" dirty="0">
                <a:solidFill>
                  <a:srgbClr val="2A0068"/>
                </a:solidFill>
              </a:rPr>
              <a:t>Dupliquer des individus sous-représentés </a:t>
            </a:r>
            <a:r>
              <a:rPr lang="fr-FR" sz="1800" dirty="0">
                <a:solidFill>
                  <a:srgbClr val="2A0068"/>
                </a:solidFill>
              </a:rPr>
              <a:t>(ici </a:t>
            </a:r>
            <a:r>
              <a:rPr lang="fr-FR" dirty="0">
                <a:solidFill>
                  <a:srgbClr val="2A0068"/>
                </a:solidFill>
              </a:rPr>
              <a:t>dans la </a:t>
            </a:r>
            <a:r>
              <a:rPr lang="fr-FR" sz="1800" dirty="0">
                <a:solidFill>
                  <a:srgbClr val="2A0068"/>
                </a:solidFill>
              </a:rPr>
              <a:t>classe minoritaire)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BAB185B8-1B3A-414D-BA3E-125752AA8845}"/>
              </a:ext>
            </a:extLst>
          </p:cNvPr>
          <p:cNvSpPr/>
          <p:nvPr/>
        </p:nvSpPr>
        <p:spPr>
          <a:xfrm>
            <a:off x="6447067" y="2741181"/>
            <a:ext cx="5212836" cy="4900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5738" indent="-185738">
              <a:buFont typeface="Arial" panose="020B0604020202020204" pitchFamily="34" charset="0"/>
              <a:buChar char="•"/>
            </a:pPr>
            <a:r>
              <a:rPr lang="fr-FR" sz="1800" b="1" dirty="0">
                <a:solidFill>
                  <a:srgbClr val="2A0068"/>
                </a:solidFill>
              </a:rPr>
              <a:t>Réduire le nombre d’individus </a:t>
            </a:r>
            <a:r>
              <a:rPr lang="fr-FR" sz="1800" dirty="0">
                <a:solidFill>
                  <a:srgbClr val="2A0068"/>
                </a:solidFill>
              </a:rPr>
              <a:t>dans la classe majoritaire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B9EA7AE8-A61B-41D0-B836-8918E618315D}"/>
              </a:ext>
            </a:extLst>
          </p:cNvPr>
          <p:cNvSpPr/>
          <p:nvPr/>
        </p:nvSpPr>
        <p:spPr>
          <a:xfrm>
            <a:off x="6439307" y="4989881"/>
            <a:ext cx="5212836" cy="4900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5738" indent="-185738">
              <a:buFont typeface="Arial" panose="020B0604020202020204" pitchFamily="34" charset="0"/>
              <a:buChar char="•"/>
            </a:pPr>
            <a:r>
              <a:rPr lang="fr-FR" sz="1800" dirty="0">
                <a:solidFill>
                  <a:srgbClr val="2A0068"/>
                </a:solidFill>
              </a:rPr>
              <a:t>Choisir une </a:t>
            </a:r>
            <a:r>
              <a:rPr lang="fr-FR" sz="1800" b="1" dirty="0">
                <a:solidFill>
                  <a:srgbClr val="2A0068"/>
                </a:solidFill>
              </a:rPr>
              <a:t>métrique de performance adaptée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39E10B43-EFAE-478A-8CB1-425FEB415AE5}"/>
              </a:ext>
            </a:extLst>
          </p:cNvPr>
          <p:cNvSpPr/>
          <p:nvPr/>
        </p:nvSpPr>
        <p:spPr>
          <a:xfrm>
            <a:off x="6439307" y="4419310"/>
            <a:ext cx="5212836" cy="4900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5738" indent="-185738">
              <a:buFont typeface="Arial" panose="020B0604020202020204" pitchFamily="34" charset="0"/>
              <a:buChar char="•"/>
            </a:pPr>
            <a:r>
              <a:rPr lang="fr-FR" sz="1800" b="1" dirty="0">
                <a:solidFill>
                  <a:srgbClr val="2A0068"/>
                </a:solidFill>
              </a:rPr>
              <a:t>Pondération des observations</a:t>
            </a:r>
            <a:r>
              <a:rPr lang="fr-FR" sz="1800" dirty="0">
                <a:solidFill>
                  <a:srgbClr val="2A0068"/>
                </a:solidFill>
              </a:rPr>
              <a:t> dans le training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9D51F6DC-36C0-416B-94F5-5C957D432784}"/>
              </a:ext>
            </a:extLst>
          </p:cNvPr>
          <p:cNvSpPr/>
          <p:nvPr/>
        </p:nvSpPr>
        <p:spPr>
          <a:xfrm>
            <a:off x="6439307" y="5563821"/>
            <a:ext cx="5212836" cy="4900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5738" indent="-185738">
              <a:buFont typeface="Arial" panose="020B0604020202020204" pitchFamily="34" charset="0"/>
              <a:buChar char="•"/>
            </a:pPr>
            <a:r>
              <a:rPr lang="fr-FR" sz="1800" b="1" dirty="0">
                <a:solidFill>
                  <a:srgbClr val="2A0068"/>
                </a:solidFill>
              </a:rPr>
              <a:t>Création d’individus « synthétiques »</a:t>
            </a:r>
          </a:p>
        </p:txBody>
      </p:sp>
      <p:sp>
        <p:nvSpPr>
          <p:cNvPr id="29" name="Ellipse 28">
            <a:extLst>
              <a:ext uri="{FF2B5EF4-FFF2-40B4-BE49-F238E27FC236}">
                <a16:creationId xmlns:a16="http://schemas.microsoft.com/office/drawing/2014/main" id="{42B8F66F-F96A-4566-9DDF-EDA50FAFB70B}"/>
              </a:ext>
            </a:extLst>
          </p:cNvPr>
          <p:cNvSpPr/>
          <p:nvPr/>
        </p:nvSpPr>
        <p:spPr>
          <a:xfrm>
            <a:off x="6301043" y="2250672"/>
            <a:ext cx="324000" cy="324000"/>
          </a:xfrm>
          <a:prstGeom prst="ellips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400" dirty="0"/>
              <a:t>1</a:t>
            </a:r>
          </a:p>
        </p:txBody>
      </p:sp>
      <p:sp>
        <p:nvSpPr>
          <p:cNvPr id="43" name="Ellipse 42">
            <a:extLst>
              <a:ext uri="{FF2B5EF4-FFF2-40B4-BE49-F238E27FC236}">
                <a16:creationId xmlns:a16="http://schemas.microsoft.com/office/drawing/2014/main" id="{66A571E9-72D1-4EB3-9660-0643E406F936}"/>
              </a:ext>
            </a:extLst>
          </p:cNvPr>
          <p:cNvSpPr/>
          <p:nvPr/>
        </p:nvSpPr>
        <p:spPr>
          <a:xfrm>
            <a:off x="6301043" y="2818440"/>
            <a:ext cx="324000" cy="324000"/>
          </a:xfrm>
          <a:prstGeom prst="ellips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400" dirty="0"/>
              <a:t>2</a:t>
            </a:r>
          </a:p>
        </p:txBody>
      </p:sp>
      <p:sp>
        <p:nvSpPr>
          <p:cNvPr id="44" name="Ellipse 43">
            <a:extLst>
              <a:ext uri="{FF2B5EF4-FFF2-40B4-BE49-F238E27FC236}">
                <a16:creationId xmlns:a16="http://schemas.microsoft.com/office/drawing/2014/main" id="{C4A17E42-E209-4A7E-9E74-5412A6726B82}"/>
              </a:ext>
            </a:extLst>
          </p:cNvPr>
          <p:cNvSpPr/>
          <p:nvPr/>
        </p:nvSpPr>
        <p:spPr>
          <a:xfrm>
            <a:off x="6301043" y="3389068"/>
            <a:ext cx="324000" cy="324000"/>
          </a:xfrm>
          <a:prstGeom prst="ellips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400" dirty="0"/>
              <a:t>3</a:t>
            </a:r>
          </a:p>
        </p:txBody>
      </p:sp>
      <p:sp>
        <p:nvSpPr>
          <p:cNvPr id="45" name="Ellipse 44">
            <a:extLst>
              <a:ext uri="{FF2B5EF4-FFF2-40B4-BE49-F238E27FC236}">
                <a16:creationId xmlns:a16="http://schemas.microsoft.com/office/drawing/2014/main" id="{643FF9D6-650D-4380-A2C1-51B0923100E6}"/>
              </a:ext>
            </a:extLst>
          </p:cNvPr>
          <p:cNvSpPr/>
          <p:nvPr/>
        </p:nvSpPr>
        <p:spPr>
          <a:xfrm>
            <a:off x="6301043" y="3933086"/>
            <a:ext cx="324000" cy="324000"/>
          </a:xfrm>
          <a:prstGeom prst="ellips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400" dirty="0"/>
              <a:t>4</a:t>
            </a:r>
          </a:p>
        </p:txBody>
      </p:sp>
      <p:cxnSp>
        <p:nvCxnSpPr>
          <p:cNvPr id="50" name="Connecteur droit 49">
            <a:extLst>
              <a:ext uri="{FF2B5EF4-FFF2-40B4-BE49-F238E27FC236}">
                <a16:creationId xmlns:a16="http://schemas.microsoft.com/office/drawing/2014/main" id="{D314EE55-7812-44C6-8DB1-E7E0307BC3BA}"/>
              </a:ext>
            </a:extLst>
          </p:cNvPr>
          <p:cNvCxnSpPr/>
          <p:nvPr/>
        </p:nvCxnSpPr>
        <p:spPr>
          <a:xfrm flipV="1">
            <a:off x="603190" y="6205699"/>
            <a:ext cx="5040000" cy="0"/>
          </a:xfrm>
          <a:prstGeom prst="line">
            <a:avLst/>
          </a:prstGeom>
          <a:ln>
            <a:solidFill>
              <a:srgbClr val="2A00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riangle isocèle 50">
            <a:extLst>
              <a:ext uri="{FF2B5EF4-FFF2-40B4-BE49-F238E27FC236}">
                <a16:creationId xmlns:a16="http://schemas.microsoft.com/office/drawing/2014/main" id="{6825D1C2-8763-40DD-9A10-EDF39D4BF520}"/>
              </a:ext>
            </a:extLst>
          </p:cNvPr>
          <p:cNvSpPr/>
          <p:nvPr/>
        </p:nvSpPr>
        <p:spPr>
          <a:xfrm rot="5400000">
            <a:off x="5564036" y="3996766"/>
            <a:ext cx="875887" cy="211507"/>
          </a:xfrm>
          <a:prstGeom prst="triangl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3BFABEF-1F63-4E9B-B32C-4B37209E6C6D}"/>
              </a:ext>
            </a:extLst>
          </p:cNvPr>
          <p:cNvSpPr/>
          <p:nvPr/>
        </p:nvSpPr>
        <p:spPr>
          <a:xfrm>
            <a:off x="6429930" y="4394257"/>
            <a:ext cx="5229973" cy="1677037"/>
          </a:xfrm>
          <a:prstGeom prst="rect">
            <a:avLst/>
          </a:prstGeom>
          <a:noFill/>
          <a:ln w="57150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7DF9368C-D7F8-4383-A766-8686CD732BF8}"/>
              </a:ext>
            </a:extLst>
          </p:cNvPr>
          <p:cNvSpPr/>
          <p:nvPr/>
        </p:nvSpPr>
        <p:spPr>
          <a:xfrm>
            <a:off x="7909862" y="6042000"/>
            <a:ext cx="2340000" cy="358819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1600" i="1" dirty="0">
                <a:solidFill>
                  <a:schemeClr val="bg1"/>
                </a:solidFill>
              </a:rPr>
              <a:t>Les solutions retenues</a:t>
            </a:r>
          </a:p>
        </p:txBody>
      </p:sp>
      <p:sp>
        <p:nvSpPr>
          <p:cNvPr id="46" name="Ellipse 45">
            <a:extLst>
              <a:ext uri="{FF2B5EF4-FFF2-40B4-BE49-F238E27FC236}">
                <a16:creationId xmlns:a16="http://schemas.microsoft.com/office/drawing/2014/main" id="{85C5A6AD-83E0-421D-B39A-0EB602292B64}"/>
              </a:ext>
            </a:extLst>
          </p:cNvPr>
          <p:cNvSpPr/>
          <p:nvPr/>
        </p:nvSpPr>
        <p:spPr>
          <a:xfrm>
            <a:off x="6301043" y="4512325"/>
            <a:ext cx="324000" cy="324000"/>
          </a:xfrm>
          <a:prstGeom prst="ellips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400" dirty="0"/>
              <a:t>5</a:t>
            </a:r>
          </a:p>
        </p:txBody>
      </p:sp>
      <p:sp>
        <p:nvSpPr>
          <p:cNvPr id="47" name="Ellipse 46">
            <a:extLst>
              <a:ext uri="{FF2B5EF4-FFF2-40B4-BE49-F238E27FC236}">
                <a16:creationId xmlns:a16="http://schemas.microsoft.com/office/drawing/2014/main" id="{345B60B4-6A70-4CF7-B2D6-D537618B7C37}"/>
              </a:ext>
            </a:extLst>
          </p:cNvPr>
          <p:cNvSpPr/>
          <p:nvPr/>
        </p:nvSpPr>
        <p:spPr>
          <a:xfrm>
            <a:off x="6301043" y="5091968"/>
            <a:ext cx="324000" cy="324000"/>
          </a:xfrm>
          <a:prstGeom prst="ellips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400" dirty="0"/>
              <a:t>6</a:t>
            </a:r>
          </a:p>
        </p:txBody>
      </p:sp>
      <p:sp>
        <p:nvSpPr>
          <p:cNvPr id="48" name="Ellipse 47">
            <a:extLst>
              <a:ext uri="{FF2B5EF4-FFF2-40B4-BE49-F238E27FC236}">
                <a16:creationId xmlns:a16="http://schemas.microsoft.com/office/drawing/2014/main" id="{B5EE5D0C-37DB-43EC-9623-5BC92BCBBC6D}"/>
              </a:ext>
            </a:extLst>
          </p:cNvPr>
          <p:cNvSpPr/>
          <p:nvPr/>
        </p:nvSpPr>
        <p:spPr>
          <a:xfrm>
            <a:off x="6297353" y="5658721"/>
            <a:ext cx="324000" cy="324000"/>
          </a:xfrm>
          <a:prstGeom prst="ellips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400" dirty="0"/>
              <a:t>7</a:t>
            </a:r>
          </a:p>
        </p:txBody>
      </p:sp>
    </p:spTree>
    <p:extLst>
      <p:ext uri="{BB962C8B-B14F-4D97-AF65-F5344CB8AC3E}">
        <p14:creationId xmlns:p14="http://schemas.microsoft.com/office/powerpoint/2010/main" val="170244530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08B85ABE125AF409A86B73326EFFAE5" ma:contentTypeVersion="13" ma:contentTypeDescription="Crée un document." ma:contentTypeScope="" ma:versionID="cfa2b84814ad0d4dc5902a099d18eada">
  <xsd:schema xmlns:xsd="http://www.w3.org/2001/XMLSchema" xmlns:xs="http://www.w3.org/2001/XMLSchema" xmlns:p="http://schemas.microsoft.com/office/2006/metadata/properties" xmlns:ns3="21c16e65-816f-4847-be88-731645291b21" xmlns:ns4="67c7d727-27e8-4526-a2a7-f89ba01a3409" targetNamespace="http://schemas.microsoft.com/office/2006/metadata/properties" ma:root="true" ma:fieldsID="1941e2dd5eb9c4a46146aa2eaafc37a7" ns3:_="" ns4:_="">
    <xsd:import namespace="21c16e65-816f-4847-be88-731645291b21"/>
    <xsd:import namespace="67c7d727-27e8-4526-a2a7-f89ba01a3409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OCR" minOccurs="0"/>
                <xsd:element ref="ns3:MediaServiceDateTaken" minOccurs="0"/>
                <xsd:element ref="ns3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1c16e65-816f-4847-be88-731645291b2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9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7c7d727-27e8-4526-a2a7-f89ba01a3409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Partagé avec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Partagé avec dé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7" nillable="true" ma:displayName="Partage du hachage d’indicateur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4E0BA49-AB2A-4044-9F15-987E41C6A1B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1c16e65-816f-4847-be88-731645291b21"/>
    <ds:schemaRef ds:uri="67c7d727-27e8-4526-a2a7-f89ba01a340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6DCF7537-AB6C-4566-9821-DCC4778AF944}">
  <ds:schemaRefs>
    <ds:schemaRef ds:uri="http://schemas.microsoft.com/office/2006/documentManagement/types"/>
    <ds:schemaRef ds:uri="http://www.w3.org/XML/1998/namespace"/>
    <ds:schemaRef ds:uri="http://purl.org/dc/dcmitype/"/>
    <ds:schemaRef ds:uri="http://purl.org/dc/terms/"/>
    <ds:schemaRef ds:uri="21c16e65-816f-4847-be88-731645291b21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67c7d727-27e8-4526-a2a7-f89ba01a3409"/>
    <ds:schemaRef ds:uri="http://schemas.microsoft.com/office/2006/metadata/properties"/>
  </ds:schemaRefs>
</ds:datastoreItem>
</file>

<file path=customXml/itemProps3.xml><?xml version="1.0" encoding="utf-8"?>
<ds:datastoreItem xmlns:ds="http://schemas.openxmlformats.org/officeDocument/2006/customXml" ds:itemID="{F8B2D13A-B571-47A0-B384-30EF6393E3B0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6450</TotalTime>
  <Words>1413</Words>
  <Application>Microsoft Office PowerPoint</Application>
  <PresentationFormat>Grand écran</PresentationFormat>
  <Paragraphs>270</Paragraphs>
  <Slides>23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5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23</vt:i4>
      </vt:variant>
    </vt:vector>
  </HeadingPairs>
  <TitlesOfParts>
    <vt:vector size="30" baseType="lpstr">
      <vt:lpstr>Arial</vt:lpstr>
      <vt:lpstr>Baloo</vt:lpstr>
      <vt:lpstr>Calibri</vt:lpstr>
      <vt:lpstr>Calibri Light</vt:lpstr>
      <vt:lpstr>Trebuchet MS</vt:lpstr>
      <vt:lpstr>Thème Office</vt:lpstr>
      <vt:lpstr>Diapositive think-cell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Castoriadis Pauline</dc:creator>
  <cp:lastModifiedBy>CASTORIADIS Pauline</cp:lastModifiedBy>
  <cp:revision>130</cp:revision>
  <dcterms:created xsi:type="dcterms:W3CDTF">2021-01-14T09:36:12Z</dcterms:created>
  <dcterms:modified xsi:type="dcterms:W3CDTF">2022-04-07T07:55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08B85ABE125AF409A86B73326EFFAE5</vt:lpwstr>
  </property>
</Properties>
</file>